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56" r:id="rId5"/>
    <p:sldId id="4848" r:id="rId6"/>
    <p:sldId id="2147375597" r:id="rId7"/>
    <p:sldId id="2147375600" r:id="rId8"/>
    <p:sldId id="1633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84933A-EB5E-44CB-9F26-C3A3949D0B72}" v="7" dt="2024-08-30T14:22:48.055"/>
    <p1510:client id="{DF0BD80A-A041-4F8A-BE7B-DB7C6631019A}" v="7" dt="2024-08-31T14:03:49.6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hushan Madapura [UNext]" userId="2baadad7-7b8e-4632-a62a-dff9a334b569" providerId="ADAL" clId="{8AA35C18-0C06-49EF-AC0C-5255EBFFF153}"/>
    <pc:docChg chg="modSld">
      <pc:chgData name="Bhushan Madapura [UNext]" userId="2baadad7-7b8e-4632-a62a-dff9a334b569" providerId="ADAL" clId="{8AA35C18-0C06-49EF-AC0C-5255EBFFF153}" dt="2024-08-23T04:50:16.802" v="0" actId="14861"/>
      <pc:docMkLst>
        <pc:docMk/>
      </pc:docMkLst>
      <pc:sldChg chg="modSp mod">
        <pc:chgData name="Bhushan Madapura [UNext]" userId="2baadad7-7b8e-4632-a62a-dff9a334b569" providerId="ADAL" clId="{8AA35C18-0C06-49EF-AC0C-5255EBFFF153}" dt="2024-08-23T04:50:16.802" v="0" actId="14861"/>
        <pc:sldMkLst>
          <pc:docMk/>
          <pc:sldMk cId="349082050" sldId="2147375595"/>
        </pc:sldMkLst>
        <pc:picChg chg="mod">
          <ac:chgData name="Bhushan Madapura [UNext]" userId="2baadad7-7b8e-4632-a62a-dff9a334b569" providerId="ADAL" clId="{8AA35C18-0C06-49EF-AC0C-5255EBFFF153}" dt="2024-08-23T04:50:16.802" v="0" actId="14861"/>
          <ac:picMkLst>
            <pc:docMk/>
            <pc:sldMk cId="349082050" sldId="2147375595"/>
            <ac:picMk id="3" creationId="{6138DF7C-3FF2-7FE5-FD04-5EBB2C596F9F}"/>
          </ac:picMkLst>
        </pc:picChg>
      </pc:sldChg>
    </pc:docChg>
  </pc:docChgLst>
  <pc:docChgLst>
    <pc:chgData name="Hitesh K" userId="84d9e45b5558d026" providerId="LiveId" clId="{DF0BD80A-A041-4F8A-BE7B-DB7C6631019A}"/>
    <pc:docChg chg="undo custSel modSld">
      <pc:chgData name="Hitesh K" userId="84d9e45b5558d026" providerId="LiveId" clId="{DF0BD80A-A041-4F8A-BE7B-DB7C6631019A}" dt="2024-08-31T14:06:30.240" v="139" actId="20577"/>
      <pc:docMkLst>
        <pc:docMk/>
      </pc:docMkLst>
      <pc:sldChg chg="addSp modSp mod">
        <pc:chgData name="Hitesh K" userId="84d9e45b5558d026" providerId="LiveId" clId="{DF0BD80A-A041-4F8A-BE7B-DB7C6631019A}" dt="2024-08-31T13:58:46.939" v="117" actId="20577"/>
        <pc:sldMkLst>
          <pc:docMk/>
          <pc:sldMk cId="245881457" sldId="2147375597"/>
        </pc:sldMkLst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2" creationId="{5C966AD5-65F6-0AEB-3CE1-187A6F01804A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5" creationId="{91EDF2B3-4C0C-5D48-947D-8A51F1861591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6" creationId="{9D593181-5E44-4250-9900-7B9175CC16B6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8" creationId="{3AE7EE35-426D-06E2-996F-76F0E2320548}"/>
          </ac:spMkLst>
        </pc:spChg>
        <pc:spChg chg="mod">
          <ac:chgData name="Hitesh K" userId="84d9e45b5558d026" providerId="LiveId" clId="{DF0BD80A-A041-4F8A-BE7B-DB7C6631019A}" dt="2024-08-31T13:58:46.939" v="117" actId="20577"/>
          <ac:spMkLst>
            <pc:docMk/>
            <pc:sldMk cId="245881457" sldId="2147375597"/>
            <ac:spMk id="11" creationId="{DE9F1BE0-7910-FA1B-DCE8-56EFD1E4FC09}"/>
          </ac:spMkLst>
        </pc:spChg>
        <pc:spChg chg="add">
          <ac:chgData name="Hitesh K" userId="84d9e45b5558d026" providerId="LiveId" clId="{DF0BD80A-A041-4F8A-BE7B-DB7C6631019A}" dt="2024-08-31T13:49:10.772" v="0"/>
          <ac:spMkLst>
            <pc:docMk/>
            <pc:sldMk cId="245881457" sldId="2147375597"/>
            <ac:spMk id="13" creationId="{0F099119-C654-E3B2-6150-4AFD6C2EBD26}"/>
          </ac:spMkLst>
        </pc:spChg>
      </pc:sldChg>
      <pc:sldChg chg="addSp modSp mod">
        <pc:chgData name="Hitesh K" userId="84d9e45b5558d026" providerId="LiveId" clId="{DF0BD80A-A041-4F8A-BE7B-DB7C6631019A}" dt="2024-08-31T14:06:30.240" v="139" actId="20577"/>
        <pc:sldMkLst>
          <pc:docMk/>
          <pc:sldMk cId="1181112711" sldId="2147375600"/>
        </pc:sldMkLst>
        <pc:spChg chg="add">
          <ac:chgData name="Hitesh K" userId="84d9e45b5558d026" providerId="LiveId" clId="{DF0BD80A-A041-4F8A-BE7B-DB7C6631019A}" dt="2024-08-31T14:03:45.314" v="131"/>
          <ac:spMkLst>
            <pc:docMk/>
            <pc:sldMk cId="1181112711" sldId="2147375600"/>
            <ac:spMk id="2" creationId="{59C4438C-8938-A21B-F217-CA030B19AA6D}"/>
          </ac:spMkLst>
        </pc:spChg>
        <pc:spChg chg="mod">
          <ac:chgData name="Hitesh K" userId="84d9e45b5558d026" providerId="LiveId" clId="{DF0BD80A-A041-4F8A-BE7B-DB7C6631019A}" dt="2024-08-31T14:06:30.240" v="139" actId="20577"/>
          <ac:spMkLst>
            <pc:docMk/>
            <pc:sldMk cId="1181112711" sldId="2147375600"/>
            <ac:spMk id="11" creationId="{DE9F1BE0-7910-FA1B-DCE8-56EFD1E4FC09}"/>
          </ac:spMkLst>
        </pc:spChg>
        <pc:spChg chg="mod">
          <ac:chgData name="Hitesh K" userId="84d9e45b5558d026" providerId="LiveId" clId="{DF0BD80A-A041-4F8A-BE7B-DB7C6631019A}" dt="2024-08-31T14:03:47.434" v="132" actId="20577"/>
          <ac:spMkLst>
            <pc:docMk/>
            <pc:sldMk cId="1181112711" sldId="2147375600"/>
            <ac:spMk id="12" creationId="{E53E5C3F-4D2B-B85F-E592-E58E032C664C}"/>
          </ac:spMkLst>
        </pc:spChg>
        <pc:picChg chg="add mod">
          <ac:chgData name="Hitesh K" userId="84d9e45b5558d026" providerId="LiveId" clId="{DF0BD80A-A041-4F8A-BE7B-DB7C6631019A}" dt="2024-08-31T14:04:09.693" v="138" actId="1076"/>
          <ac:picMkLst>
            <pc:docMk/>
            <pc:sldMk cId="1181112711" sldId="2147375600"/>
            <ac:picMk id="5" creationId="{06357599-010C-679D-350E-C38A1C93F3A5}"/>
          </ac:picMkLst>
        </pc:picChg>
      </pc:sldChg>
    </pc:docChg>
  </pc:docChgLst>
  <pc:docChgLst>
    <pc:chgData name="Bhushan Madapura [UNext]" userId="2baadad7-7b8e-4632-a62a-dff9a334b569" providerId="ADAL" clId="{F6E155E8-D84C-463E-A3B7-5CF65E1FB393}"/>
    <pc:docChg chg="undo redo custSel addSld delSld modSld">
      <pc:chgData name="Bhushan Madapura [UNext]" userId="2baadad7-7b8e-4632-a62a-dff9a334b569" providerId="ADAL" clId="{F6E155E8-D84C-463E-A3B7-5CF65E1FB393}" dt="2024-08-26T15:20:53.723" v="1693" actId="20577"/>
      <pc:docMkLst>
        <pc:docMk/>
      </pc:docMkLst>
      <pc:sldChg chg="modSp mod">
        <pc:chgData name="Bhushan Madapura [UNext]" userId="2baadad7-7b8e-4632-a62a-dff9a334b569" providerId="ADAL" clId="{F6E155E8-D84C-463E-A3B7-5CF65E1FB393}" dt="2024-08-26T14:53:21.466" v="9" actId="20577"/>
        <pc:sldMkLst>
          <pc:docMk/>
          <pc:sldMk cId="3267775274" sldId="256"/>
        </pc:sldMkLst>
        <pc:spChg chg="mod">
          <ac:chgData name="Bhushan Madapura [UNext]" userId="2baadad7-7b8e-4632-a62a-dff9a334b569" providerId="ADAL" clId="{F6E155E8-D84C-463E-A3B7-5CF65E1FB393}" dt="2024-08-26T14:52:56.842" v="0"/>
          <ac:spMkLst>
            <pc:docMk/>
            <pc:sldMk cId="3267775274" sldId="256"/>
            <ac:spMk id="6" creationId="{0C37A4A8-A3C7-407F-B123-88E2E165C827}"/>
          </ac:spMkLst>
        </pc:spChg>
        <pc:spChg chg="mod">
          <ac:chgData name="Bhushan Madapura [UNext]" userId="2baadad7-7b8e-4632-a62a-dff9a334b569" providerId="ADAL" clId="{F6E155E8-D84C-463E-A3B7-5CF65E1FB393}" dt="2024-08-26T14:53:10.018" v="7" actId="6549"/>
          <ac:spMkLst>
            <pc:docMk/>
            <pc:sldMk cId="3267775274" sldId="256"/>
            <ac:spMk id="12" creationId="{8A24547F-8A92-CDC5-A578-3733390534F2}"/>
          </ac:spMkLst>
        </pc:spChg>
        <pc:spChg chg="mod">
          <ac:chgData name="Bhushan Madapura [UNext]" userId="2baadad7-7b8e-4632-a62a-dff9a334b569" providerId="ADAL" clId="{F6E155E8-D84C-463E-A3B7-5CF65E1FB393}" dt="2024-08-26T14:53:21.466" v="9" actId="20577"/>
          <ac:spMkLst>
            <pc:docMk/>
            <pc:sldMk cId="3267775274" sldId="256"/>
            <ac:spMk id="13" creationId="{C48F8DD6-A1B3-8126-FAC3-218B712C7FFB}"/>
          </ac:spMkLst>
        </pc:spChg>
      </pc:sldChg>
      <pc:sldChg chg="del">
        <pc:chgData name="Bhushan Madapura [UNext]" userId="2baadad7-7b8e-4632-a62a-dff9a334b569" providerId="ADAL" clId="{F6E155E8-D84C-463E-A3B7-5CF65E1FB393}" dt="2024-08-26T15:18:23.800" v="1579" actId="47"/>
        <pc:sldMkLst>
          <pc:docMk/>
          <pc:sldMk cId="1394078451" sldId="308"/>
        </pc:sldMkLst>
      </pc:sldChg>
      <pc:sldChg chg="del">
        <pc:chgData name="Bhushan Madapura [UNext]" userId="2baadad7-7b8e-4632-a62a-dff9a334b569" providerId="ADAL" clId="{F6E155E8-D84C-463E-A3B7-5CF65E1FB393}" dt="2024-08-26T15:18:34.709" v="1596" actId="47"/>
        <pc:sldMkLst>
          <pc:docMk/>
          <pc:sldMk cId="1725335015" sldId="1645"/>
        </pc:sldMkLst>
      </pc:sldChg>
      <pc:sldChg chg="del">
        <pc:chgData name="Bhushan Madapura [UNext]" userId="2baadad7-7b8e-4632-a62a-dff9a334b569" providerId="ADAL" clId="{F6E155E8-D84C-463E-A3B7-5CF65E1FB393}" dt="2024-08-26T15:18:32.981" v="1594" actId="47"/>
        <pc:sldMkLst>
          <pc:docMk/>
          <pc:sldMk cId="1552476259" sldId="1648"/>
        </pc:sldMkLst>
      </pc:sldChg>
      <pc:sldChg chg="del">
        <pc:chgData name="Bhushan Madapura [UNext]" userId="2baadad7-7b8e-4632-a62a-dff9a334b569" providerId="ADAL" clId="{F6E155E8-D84C-463E-A3B7-5CF65E1FB393}" dt="2024-08-26T15:18:22.848" v="1577" actId="47"/>
        <pc:sldMkLst>
          <pc:docMk/>
          <pc:sldMk cId="3646793929" sldId="1651"/>
        </pc:sldMkLst>
      </pc:sldChg>
      <pc:sldChg chg="del">
        <pc:chgData name="Bhushan Madapura [UNext]" userId="2baadad7-7b8e-4632-a62a-dff9a334b569" providerId="ADAL" clId="{F6E155E8-D84C-463E-A3B7-5CF65E1FB393}" dt="2024-08-26T15:18:32.240" v="1593" actId="47"/>
        <pc:sldMkLst>
          <pc:docMk/>
          <pc:sldMk cId="871558929" sldId="1652"/>
        </pc:sldMkLst>
      </pc:sldChg>
      <pc:sldChg chg="del">
        <pc:chgData name="Bhushan Madapura [UNext]" userId="2baadad7-7b8e-4632-a62a-dff9a334b569" providerId="ADAL" clId="{F6E155E8-D84C-463E-A3B7-5CF65E1FB393}" dt="2024-08-26T15:18:35.420" v="1597" actId="47"/>
        <pc:sldMkLst>
          <pc:docMk/>
          <pc:sldMk cId="2492084971" sldId="1654"/>
        </pc:sldMkLst>
      </pc:sldChg>
      <pc:sldChg chg="del">
        <pc:chgData name="Bhushan Madapura [UNext]" userId="2baadad7-7b8e-4632-a62a-dff9a334b569" providerId="ADAL" clId="{F6E155E8-D84C-463E-A3B7-5CF65E1FB393}" dt="2024-08-26T15:18:36.082" v="1598" actId="47"/>
        <pc:sldMkLst>
          <pc:docMk/>
          <pc:sldMk cId="492688201" sldId="1656"/>
        </pc:sldMkLst>
      </pc:sldChg>
      <pc:sldChg chg="del">
        <pc:chgData name="Bhushan Madapura [UNext]" userId="2baadad7-7b8e-4632-a62a-dff9a334b569" providerId="ADAL" clId="{F6E155E8-D84C-463E-A3B7-5CF65E1FB393}" dt="2024-08-26T15:18:36.717" v="1599" actId="47"/>
        <pc:sldMkLst>
          <pc:docMk/>
          <pc:sldMk cId="251692743" sldId="1657"/>
        </pc:sldMkLst>
      </pc:sldChg>
      <pc:sldChg chg="del">
        <pc:chgData name="Bhushan Madapura [UNext]" userId="2baadad7-7b8e-4632-a62a-dff9a334b569" providerId="ADAL" clId="{F6E155E8-D84C-463E-A3B7-5CF65E1FB393}" dt="2024-08-26T15:18:22.125" v="1574" actId="47"/>
        <pc:sldMkLst>
          <pc:docMk/>
          <pc:sldMk cId="1502717962" sldId="1660"/>
        </pc:sldMkLst>
      </pc:sldChg>
      <pc:sldChg chg="addSp modSp mod">
        <pc:chgData name="Bhushan Madapura [UNext]" userId="2baadad7-7b8e-4632-a62a-dff9a334b569" providerId="ADAL" clId="{F6E155E8-D84C-463E-A3B7-5CF65E1FB393}" dt="2024-08-26T14:55:15.903" v="92" actId="207"/>
        <pc:sldMkLst>
          <pc:docMk/>
          <pc:sldMk cId="942789877" sldId="4848"/>
        </pc:sldMkLst>
        <pc:spChg chg="mod">
          <ac:chgData name="Bhushan Madapura [UNext]" userId="2baadad7-7b8e-4632-a62a-dff9a334b569" providerId="ADAL" clId="{F6E155E8-D84C-463E-A3B7-5CF65E1FB393}" dt="2024-08-26T14:54:53.634" v="90"/>
          <ac:spMkLst>
            <pc:docMk/>
            <pc:sldMk cId="942789877" sldId="4848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4:55:15.903" v="92" actId="207"/>
          <ac:picMkLst>
            <pc:docMk/>
            <pc:sldMk cId="942789877" sldId="4848"/>
            <ac:picMk id="2" creationId="{5ED103A7-D95B-E42C-6356-53269A110E83}"/>
          </ac:picMkLst>
        </pc:picChg>
      </pc:sldChg>
      <pc:sldChg chg="del">
        <pc:chgData name="Bhushan Madapura [UNext]" userId="2baadad7-7b8e-4632-a62a-dff9a334b569" providerId="ADAL" clId="{F6E155E8-D84C-463E-A3B7-5CF65E1FB393}" dt="2024-08-26T15:18:20.088" v="1566" actId="47"/>
        <pc:sldMkLst>
          <pc:docMk/>
          <pc:sldMk cId="1692425821" sldId="4863"/>
        </pc:sldMkLst>
      </pc:sldChg>
      <pc:sldChg chg="del">
        <pc:chgData name="Bhushan Madapura [UNext]" userId="2baadad7-7b8e-4632-a62a-dff9a334b569" providerId="ADAL" clId="{F6E155E8-D84C-463E-A3B7-5CF65E1FB393}" dt="2024-08-26T15:18:21.098" v="1569" actId="47"/>
        <pc:sldMkLst>
          <pc:docMk/>
          <pc:sldMk cId="993584579" sldId="4972"/>
        </pc:sldMkLst>
      </pc:sldChg>
      <pc:sldChg chg="del">
        <pc:chgData name="Bhushan Madapura [UNext]" userId="2baadad7-7b8e-4632-a62a-dff9a334b569" providerId="ADAL" clId="{F6E155E8-D84C-463E-A3B7-5CF65E1FB393}" dt="2024-08-26T15:18:21.492" v="1571" actId="47"/>
        <pc:sldMkLst>
          <pc:docMk/>
          <pc:sldMk cId="754838326" sldId="4973"/>
        </pc:sldMkLst>
      </pc:sldChg>
      <pc:sldChg chg="del">
        <pc:chgData name="Bhushan Madapura [UNext]" userId="2baadad7-7b8e-4632-a62a-dff9a334b569" providerId="ADAL" clId="{F6E155E8-D84C-463E-A3B7-5CF65E1FB393}" dt="2024-08-26T15:18:21.697" v="1572" actId="47"/>
        <pc:sldMkLst>
          <pc:docMk/>
          <pc:sldMk cId="3971984793" sldId="4974"/>
        </pc:sldMkLst>
      </pc:sldChg>
      <pc:sldChg chg="del">
        <pc:chgData name="Bhushan Madapura [UNext]" userId="2baadad7-7b8e-4632-a62a-dff9a334b569" providerId="ADAL" clId="{F6E155E8-D84C-463E-A3B7-5CF65E1FB393}" dt="2024-08-26T15:18:21.903" v="1573" actId="47"/>
        <pc:sldMkLst>
          <pc:docMk/>
          <pc:sldMk cId="891875669" sldId="2147375326"/>
        </pc:sldMkLst>
      </pc:sldChg>
      <pc:sldChg chg="del">
        <pc:chgData name="Bhushan Madapura [UNext]" userId="2baadad7-7b8e-4632-a62a-dff9a334b569" providerId="ADAL" clId="{F6E155E8-D84C-463E-A3B7-5CF65E1FB393}" dt="2024-08-26T15:18:22.328" v="1575" actId="47"/>
        <pc:sldMkLst>
          <pc:docMk/>
          <pc:sldMk cId="2000669452" sldId="2147375394"/>
        </pc:sldMkLst>
      </pc:sldChg>
      <pc:sldChg chg="del">
        <pc:chgData name="Bhushan Madapura [UNext]" userId="2baadad7-7b8e-4632-a62a-dff9a334b569" providerId="ADAL" clId="{F6E155E8-D84C-463E-A3B7-5CF65E1FB393}" dt="2024-08-26T15:18:20.848" v="1568" actId="47"/>
        <pc:sldMkLst>
          <pc:docMk/>
          <pc:sldMk cId="1855469294" sldId="2147375439"/>
        </pc:sldMkLst>
      </pc:sldChg>
      <pc:sldChg chg="del">
        <pc:chgData name="Bhushan Madapura [UNext]" userId="2baadad7-7b8e-4632-a62a-dff9a334b569" providerId="ADAL" clId="{F6E155E8-D84C-463E-A3B7-5CF65E1FB393}" dt="2024-08-26T15:18:20.530" v="1567" actId="47"/>
        <pc:sldMkLst>
          <pc:docMk/>
          <pc:sldMk cId="1748775088" sldId="2147375444"/>
        </pc:sldMkLst>
      </pc:sldChg>
      <pc:sldChg chg="del">
        <pc:chgData name="Bhushan Madapura [UNext]" userId="2baadad7-7b8e-4632-a62a-dff9a334b569" providerId="ADAL" clId="{F6E155E8-D84C-463E-A3B7-5CF65E1FB393}" dt="2024-08-26T15:18:28.566" v="1586" actId="47"/>
        <pc:sldMkLst>
          <pc:docMk/>
          <pc:sldMk cId="2936957564" sldId="2147375476"/>
        </pc:sldMkLst>
      </pc:sldChg>
      <pc:sldChg chg="del">
        <pc:chgData name="Bhushan Madapura [UNext]" userId="2baadad7-7b8e-4632-a62a-dff9a334b569" providerId="ADAL" clId="{F6E155E8-D84C-463E-A3B7-5CF65E1FB393}" dt="2024-08-26T15:18:29.073" v="1587" actId="47"/>
        <pc:sldMkLst>
          <pc:docMk/>
          <pc:sldMk cId="2271413475" sldId="2147375477"/>
        </pc:sldMkLst>
      </pc:sldChg>
      <pc:sldChg chg="del">
        <pc:chgData name="Bhushan Madapura [UNext]" userId="2baadad7-7b8e-4632-a62a-dff9a334b569" providerId="ADAL" clId="{F6E155E8-D84C-463E-A3B7-5CF65E1FB393}" dt="2024-08-26T15:18:27.853" v="1585" actId="47"/>
        <pc:sldMkLst>
          <pc:docMk/>
          <pc:sldMk cId="1948523315" sldId="2147375478"/>
        </pc:sldMkLst>
      </pc:sldChg>
      <pc:sldChg chg="del">
        <pc:chgData name="Bhushan Madapura [UNext]" userId="2baadad7-7b8e-4632-a62a-dff9a334b569" providerId="ADAL" clId="{F6E155E8-D84C-463E-A3B7-5CF65E1FB393}" dt="2024-08-26T15:18:29.481" v="1588" actId="47"/>
        <pc:sldMkLst>
          <pc:docMk/>
          <pc:sldMk cId="1431467204" sldId="2147375479"/>
        </pc:sldMkLst>
      </pc:sldChg>
      <pc:sldChg chg="del">
        <pc:chgData name="Bhushan Madapura [UNext]" userId="2baadad7-7b8e-4632-a62a-dff9a334b569" providerId="ADAL" clId="{F6E155E8-D84C-463E-A3B7-5CF65E1FB393}" dt="2024-08-26T15:18:30.589" v="1590" actId="47"/>
        <pc:sldMkLst>
          <pc:docMk/>
          <pc:sldMk cId="3318051497" sldId="2147375481"/>
        </pc:sldMkLst>
      </pc:sldChg>
      <pc:sldChg chg="del">
        <pc:chgData name="Bhushan Madapura [UNext]" userId="2baadad7-7b8e-4632-a62a-dff9a334b569" providerId="ADAL" clId="{F6E155E8-D84C-463E-A3B7-5CF65E1FB393}" dt="2024-08-26T15:18:21.272" v="1570" actId="47"/>
        <pc:sldMkLst>
          <pc:docMk/>
          <pc:sldMk cId="3547742170" sldId="2147375581"/>
        </pc:sldMkLst>
      </pc:sldChg>
      <pc:sldChg chg="del">
        <pc:chgData name="Bhushan Madapura [UNext]" userId="2baadad7-7b8e-4632-a62a-dff9a334b569" providerId="ADAL" clId="{F6E155E8-D84C-463E-A3B7-5CF65E1FB393}" dt="2024-08-26T15:18:23.497" v="1578" actId="47"/>
        <pc:sldMkLst>
          <pc:docMk/>
          <pc:sldMk cId="1740909126" sldId="2147375582"/>
        </pc:sldMkLst>
      </pc:sldChg>
      <pc:sldChg chg="del">
        <pc:chgData name="Bhushan Madapura [UNext]" userId="2baadad7-7b8e-4632-a62a-dff9a334b569" providerId="ADAL" clId="{F6E155E8-D84C-463E-A3B7-5CF65E1FB393}" dt="2024-08-26T15:18:22.596" v="1576" actId="47"/>
        <pc:sldMkLst>
          <pc:docMk/>
          <pc:sldMk cId="3598530651" sldId="2147375584"/>
        </pc:sldMkLst>
      </pc:sldChg>
      <pc:sldChg chg="del">
        <pc:chgData name="Bhushan Madapura [UNext]" userId="2baadad7-7b8e-4632-a62a-dff9a334b569" providerId="ADAL" clId="{F6E155E8-D84C-463E-A3B7-5CF65E1FB393}" dt="2024-08-26T15:18:26.947" v="1584" actId="47"/>
        <pc:sldMkLst>
          <pc:docMk/>
          <pc:sldMk cId="2188182216" sldId="2147375585"/>
        </pc:sldMkLst>
      </pc:sldChg>
      <pc:sldChg chg="del">
        <pc:chgData name="Bhushan Madapura [UNext]" userId="2baadad7-7b8e-4632-a62a-dff9a334b569" providerId="ADAL" clId="{F6E155E8-D84C-463E-A3B7-5CF65E1FB393}" dt="2024-08-26T15:18:31.172" v="1591" actId="47"/>
        <pc:sldMkLst>
          <pc:docMk/>
          <pc:sldMk cId="36437265" sldId="2147375586"/>
        </pc:sldMkLst>
      </pc:sldChg>
      <pc:sldChg chg="del">
        <pc:chgData name="Bhushan Madapura [UNext]" userId="2baadad7-7b8e-4632-a62a-dff9a334b569" providerId="ADAL" clId="{F6E155E8-D84C-463E-A3B7-5CF65E1FB393}" dt="2024-08-26T15:18:31.709" v="1592" actId="47"/>
        <pc:sldMkLst>
          <pc:docMk/>
          <pc:sldMk cId="1206403439" sldId="2147375588"/>
        </pc:sldMkLst>
      </pc:sldChg>
      <pc:sldChg chg="addSp delSp modSp mod">
        <pc:chgData name="Bhushan Madapura [UNext]" userId="2baadad7-7b8e-4632-a62a-dff9a334b569" providerId="ADAL" clId="{F6E155E8-D84C-463E-A3B7-5CF65E1FB393}" dt="2024-08-26T14:54:33.743" v="89" actId="1076"/>
        <pc:sldMkLst>
          <pc:docMk/>
          <pc:sldMk cId="867832184" sldId="2147375589"/>
        </pc:sldMkLst>
        <pc:spChg chg="del">
          <ac:chgData name="Bhushan Madapura [UNext]" userId="2baadad7-7b8e-4632-a62a-dff9a334b569" providerId="ADAL" clId="{F6E155E8-D84C-463E-A3B7-5CF65E1FB393}" dt="2024-08-26T14:53:59.980" v="83" actId="478"/>
          <ac:spMkLst>
            <pc:docMk/>
            <pc:sldMk cId="867832184" sldId="2147375589"/>
            <ac:spMk id="2" creationId="{3E5D74AE-156F-5417-16F3-ADC1D4A285C2}"/>
          </ac:spMkLst>
        </pc:spChg>
        <pc:spChg chg="mod">
          <ac:chgData name="Bhushan Madapura [UNext]" userId="2baadad7-7b8e-4632-a62a-dff9a334b569" providerId="ADAL" clId="{F6E155E8-D84C-463E-A3B7-5CF65E1FB393}" dt="2024-08-26T14:53:53.243" v="58" actId="948"/>
          <ac:spMkLst>
            <pc:docMk/>
            <pc:sldMk cId="867832184" sldId="2147375589"/>
            <ac:spMk id="3" creationId="{56243872-C66F-EDEB-B185-CE420E5D6837}"/>
          </ac:spMkLst>
        </pc:spChg>
        <pc:spChg chg="add del mod modVis">
          <ac:chgData name="Bhushan Madapura [UNext]" userId="2baadad7-7b8e-4632-a62a-dff9a334b569" providerId="ADAL" clId="{F6E155E8-D84C-463E-A3B7-5CF65E1FB393}" dt="2024-08-26T14:53:52.185" v="53"/>
          <ac:spMkLst>
            <pc:docMk/>
            <pc:sldMk cId="867832184" sldId="2147375589"/>
            <ac:spMk id="6" creationId="{E985ACA9-BD27-57E4-972F-2E18A2EAA089}"/>
          </ac:spMkLst>
        </pc:spChg>
        <pc:spChg chg="add del mod modVis">
          <ac:chgData name="Bhushan Madapura [UNext]" userId="2baadad7-7b8e-4632-a62a-dff9a334b569" providerId="ADAL" clId="{F6E155E8-D84C-463E-A3B7-5CF65E1FB393}" dt="2024-08-26T14:53:53.278" v="80"/>
          <ac:spMkLst>
            <pc:docMk/>
            <pc:sldMk cId="867832184" sldId="2147375589"/>
            <ac:spMk id="7" creationId="{3C6E01C3-7758-FFDE-AC83-69EC3A31E361}"/>
          </ac:spMkLst>
        </pc:spChg>
        <pc:spChg chg="add del mod">
          <ac:chgData name="Bhushan Madapura [UNext]" userId="2baadad7-7b8e-4632-a62a-dff9a334b569" providerId="ADAL" clId="{F6E155E8-D84C-463E-A3B7-5CF65E1FB393}" dt="2024-08-26T14:54:05.085" v="84" actId="478"/>
          <ac:spMkLst>
            <pc:docMk/>
            <pc:sldMk cId="867832184" sldId="2147375589"/>
            <ac:spMk id="9" creationId="{8B5DACBC-BCE7-F0F1-2093-E55AE93DB8C5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0" creationId="{1119CB9E-042F-11E8-F683-654626D307B3}"/>
          </ac:spMkLst>
        </pc:spChg>
        <pc:spChg chg="add mod">
          <ac:chgData name="Bhushan Madapura [UNext]" userId="2baadad7-7b8e-4632-a62a-dff9a334b569" providerId="ADAL" clId="{F6E155E8-D84C-463E-A3B7-5CF65E1FB393}" dt="2024-08-26T14:54:33.743" v="89" actId="1076"/>
          <ac:spMkLst>
            <pc:docMk/>
            <pc:sldMk cId="867832184" sldId="2147375589"/>
            <ac:spMk id="11" creationId="{CE0DDF5F-FE47-F9A2-FE84-53B63DFF494D}"/>
          </ac:spMkLst>
        </pc:spChg>
        <pc:graphicFrameChg chg="add mod ord modVis">
          <ac:chgData name="Bhushan Madapura [UNext]" userId="2baadad7-7b8e-4632-a62a-dff9a334b569" providerId="ADAL" clId="{F6E155E8-D84C-463E-A3B7-5CF65E1FB393}" dt="2024-08-26T14:53:53.284" v="82"/>
          <ac:graphicFrameMkLst>
            <pc:docMk/>
            <pc:sldMk cId="867832184" sldId="2147375589"/>
            <ac:graphicFrameMk id="5" creationId="{595DA231-959C-B3E0-7DA4-876736A38BC8}"/>
          </ac:graphicFrameMkLst>
        </pc:graphicFrameChg>
      </pc:sldChg>
      <pc:sldChg chg="del">
        <pc:chgData name="Bhushan Madapura [UNext]" userId="2baadad7-7b8e-4632-a62a-dff9a334b569" providerId="ADAL" clId="{F6E155E8-D84C-463E-A3B7-5CF65E1FB393}" dt="2024-08-26T15:18:33.888" v="1595" actId="47"/>
        <pc:sldMkLst>
          <pc:docMk/>
          <pc:sldMk cId="4063798852" sldId="2147375590"/>
        </pc:sldMkLst>
      </pc:sldChg>
      <pc:sldChg chg="del">
        <pc:chgData name="Bhushan Madapura [UNext]" userId="2baadad7-7b8e-4632-a62a-dff9a334b569" providerId="ADAL" clId="{F6E155E8-D84C-463E-A3B7-5CF65E1FB393}" dt="2024-08-26T15:18:30.019" v="1589" actId="47"/>
        <pc:sldMkLst>
          <pc:docMk/>
          <pc:sldMk cId="2056421860" sldId="2147375591"/>
        </pc:sldMkLst>
      </pc:sldChg>
      <pc:sldChg chg="del">
        <pc:chgData name="Bhushan Madapura [UNext]" userId="2baadad7-7b8e-4632-a62a-dff9a334b569" providerId="ADAL" clId="{F6E155E8-D84C-463E-A3B7-5CF65E1FB393}" dt="2024-08-26T15:18:24.722" v="1580" actId="47"/>
        <pc:sldMkLst>
          <pc:docMk/>
          <pc:sldMk cId="31081095" sldId="2147375592"/>
        </pc:sldMkLst>
      </pc:sldChg>
      <pc:sldChg chg="del">
        <pc:chgData name="Bhushan Madapura [UNext]" userId="2baadad7-7b8e-4632-a62a-dff9a334b569" providerId="ADAL" clId="{F6E155E8-D84C-463E-A3B7-5CF65E1FB393}" dt="2024-08-26T15:18:26.308" v="1583" actId="47"/>
        <pc:sldMkLst>
          <pc:docMk/>
          <pc:sldMk cId="1667871994" sldId="2147375593"/>
        </pc:sldMkLst>
      </pc:sldChg>
      <pc:sldChg chg="del">
        <pc:chgData name="Bhushan Madapura [UNext]" userId="2baadad7-7b8e-4632-a62a-dff9a334b569" providerId="ADAL" clId="{F6E155E8-D84C-463E-A3B7-5CF65E1FB393}" dt="2024-08-26T15:18:25.752" v="1582" actId="47"/>
        <pc:sldMkLst>
          <pc:docMk/>
          <pc:sldMk cId="3735680803" sldId="2147375594"/>
        </pc:sldMkLst>
      </pc:sldChg>
      <pc:sldChg chg="del">
        <pc:chgData name="Bhushan Madapura [UNext]" userId="2baadad7-7b8e-4632-a62a-dff9a334b569" providerId="ADAL" clId="{F6E155E8-D84C-463E-A3B7-5CF65E1FB393}" dt="2024-08-26T15:18:25.232" v="1581" actId="47"/>
        <pc:sldMkLst>
          <pc:docMk/>
          <pc:sldMk cId="349082050" sldId="2147375595"/>
        </pc:sldMkLst>
      </pc:sldChg>
      <pc:sldChg chg="addSp delSp modSp add del mod modAnim">
        <pc:chgData name="Bhushan Madapura [UNext]" userId="2baadad7-7b8e-4632-a62a-dff9a334b569" providerId="ADAL" clId="{F6E155E8-D84C-463E-A3B7-5CF65E1FB393}" dt="2024-08-26T15:00:51.500" v="369" actId="47"/>
        <pc:sldMkLst>
          <pc:docMk/>
          <pc:sldMk cId="377409641" sldId="2147375596"/>
        </pc:sldMkLst>
        <pc:spChg chg="mod">
          <ac:chgData name="Bhushan Madapura [UNext]" userId="2baadad7-7b8e-4632-a62a-dff9a334b569" providerId="ADAL" clId="{F6E155E8-D84C-463E-A3B7-5CF65E1FB393}" dt="2024-08-26T14:56:07.854" v="95"/>
          <ac:spMkLst>
            <pc:docMk/>
            <pc:sldMk cId="377409641" sldId="2147375596"/>
            <ac:spMk id="5" creationId="{D4A1C201-A8E3-A5B8-392B-6A156C551447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6" creationId="{EBF80831-5721-AB0F-97D6-1B5D662DB65C}"/>
          </ac:spMkLst>
        </pc:spChg>
        <pc:spChg chg="del">
          <ac:chgData name="Bhushan Madapura [UNext]" userId="2baadad7-7b8e-4632-a62a-dff9a334b569" providerId="ADAL" clId="{F6E155E8-D84C-463E-A3B7-5CF65E1FB393}" dt="2024-08-26T14:55:53.779" v="94" actId="478"/>
          <ac:spMkLst>
            <pc:docMk/>
            <pc:sldMk cId="377409641" sldId="2147375596"/>
            <ac:spMk id="7" creationId="{2F827B21-D247-0A53-0978-F895C5B8B98B}"/>
          </ac:spMkLst>
        </pc:spChg>
        <pc:picChg chg="add mod">
          <ac:chgData name="Bhushan Madapura [UNext]" userId="2baadad7-7b8e-4632-a62a-dff9a334b569" providerId="ADAL" clId="{F6E155E8-D84C-463E-A3B7-5CF65E1FB393}" dt="2024-08-26T14:56:21.672" v="97" actId="1076"/>
          <ac:picMkLst>
            <pc:docMk/>
            <pc:sldMk cId="377409641" sldId="2147375596"/>
            <ac:picMk id="2" creationId="{64EBC073-3E12-284A-A285-A40D9C9193C2}"/>
          </ac:picMkLst>
        </pc:picChg>
        <pc:picChg chg="del">
          <ac:chgData name="Bhushan Madapura [UNext]" userId="2baadad7-7b8e-4632-a62a-dff9a334b569" providerId="ADAL" clId="{F6E155E8-D84C-463E-A3B7-5CF65E1FB393}" dt="2024-08-26T14:55:53.779" v="94" actId="478"/>
          <ac:picMkLst>
            <pc:docMk/>
            <pc:sldMk cId="377409641" sldId="2147375596"/>
            <ac:picMk id="8" creationId="{E9EA5ED9-AC2E-F020-F31E-3C9592C3C17E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04:49.677" v="755" actId="242"/>
        <pc:sldMkLst>
          <pc:docMk/>
          <pc:sldMk cId="245881457" sldId="2147375597"/>
        </pc:sldMkLst>
        <pc:spChg chg="del">
          <ac:chgData name="Bhushan Madapura [UNext]" userId="2baadad7-7b8e-4632-a62a-dff9a334b569" providerId="ADAL" clId="{F6E155E8-D84C-463E-A3B7-5CF65E1FB393}" dt="2024-08-26T14:57:09.583" v="164" actId="478"/>
          <ac:spMkLst>
            <pc:docMk/>
            <pc:sldMk cId="245881457" sldId="2147375597"/>
            <ac:spMk id="2" creationId="{281FEA35-05E0-4EE2-9F35-79483FAB9621}"/>
          </ac:spMkLst>
        </pc:spChg>
        <pc:spChg chg="mod ord">
          <ac:chgData name="Bhushan Madapura [UNext]" userId="2baadad7-7b8e-4632-a62a-dff9a334b569" providerId="ADAL" clId="{F6E155E8-D84C-463E-A3B7-5CF65E1FB393}" dt="2024-08-26T15:02:40.450" v="555" actId="948"/>
          <ac:spMkLst>
            <pc:docMk/>
            <pc:sldMk cId="245881457" sldId="2147375597"/>
            <ac:spMk id="3" creationId="{CEA128C4-A0BC-A895-713C-306E7FF62894}"/>
          </ac:spMkLst>
        </pc:spChg>
        <pc:spChg chg="mod ord">
          <ac:chgData name="Bhushan Madapura [UNext]" userId="2baadad7-7b8e-4632-a62a-dff9a334b569" providerId="ADAL" clId="{F6E155E8-D84C-463E-A3B7-5CF65E1FB393}" dt="2024-08-26T14:57:41.351" v="173"/>
          <ac:spMkLst>
            <pc:docMk/>
            <pc:sldMk cId="245881457" sldId="2147375597"/>
            <ac:spMk id="4" creationId="{82193751-E94F-32C7-DCCA-7D3244D279EA}"/>
          </ac:spMkLst>
        </pc:spChg>
        <pc:spChg chg="add del mod modVis">
          <ac:chgData name="Bhushan Madapura [UNext]" userId="2baadad7-7b8e-4632-a62a-dff9a334b569" providerId="ADAL" clId="{F6E155E8-D84C-463E-A3B7-5CF65E1FB393}" dt="2024-08-26T14:56:57.480" v="122"/>
          <ac:spMkLst>
            <pc:docMk/>
            <pc:sldMk cId="245881457" sldId="2147375597"/>
            <ac:spMk id="5" creationId="{BFA05CA9-3863-9DF9-86D5-9FA64B2F43E1}"/>
          </ac:spMkLst>
        </pc:spChg>
        <pc:spChg chg="add del mod modVis">
          <ac:chgData name="Bhushan Madapura [UNext]" userId="2baadad7-7b8e-4632-a62a-dff9a334b569" providerId="ADAL" clId="{F6E155E8-D84C-463E-A3B7-5CF65E1FB393}" dt="2024-08-26T14:57:01.687" v="160"/>
          <ac:spMkLst>
            <pc:docMk/>
            <pc:sldMk cId="245881457" sldId="2147375597"/>
            <ac:spMk id="8" creationId="{6869AB80-C0C8-CE8B-7A15-3CF3B0FE9327}"/>
          </ac:spMkLst>
        </pc:spChg>
        <pc:spChg chg="add mod ord">
          <ac:chgData name="Bhushan Madapura [UNext]" userId="2baadad7-7b8e-4632-a62a-dff9a334b569" providerId="ADAL" clId="{F6E155E8-D84C-463E-A3B7-5CF65E1FB393}" dt="2024-08-26T14:59:13.062" v="228" actId="207"/>
          <ac:spMkLst>
            <pc:docMk/>
            <pc:sldMk cId="245881457" sldId="2147375597"/>
            <ac:spMk id="10" creationId="{8686D658-9330-BA20-4BC9-1E47EEC5B53D}"/>
          </ac:spMkLst>
        </pc:spChg>
        <pc:spChg chg="add mod">
          <ac:chgData name="Bhushan Madapura [UNext]" userId="2baadad7-7b8e-4632-a62a-dff9a334b569" providerId="ADAL" clId="{F6E155E8-D84C-463E-A3B7-5CF65E1FB393}" dt="2024-08-26T15:00:22.003" v="312" actId="207"/>
          <ac:spMkLst>
            <pc:docMk/>
            <pc:sldMk cId="245881457" sldId="2147375597"/>
            <ac:spMk id="11" creationId="{DE9F1BE0-7910-FA1B-DCE8-56EFD1E4FC09}"/>
          </ac:spMkLst>
        </pc:spChg>
        <pc:spChg chg="add mod">
          <ac:chgData name="Bhushan Madapura [UNext]" userId="2baadad7-7b8e-4632-a62a-dff9a334b569" providerId="ADAL" clId="{F6E155E8-D84C-463E-A3B7-5CF65E1FB393}" dt="2024-08-26T15:04:49.677" v="755" actId="242"/>
          <ac:spMkLst>
            <pc:docMk/>
            <pc:sldMk cId="245881457" sldId="214737559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2:28.736" v="438"/>
          <ac:spMkLst>
            <pc:docMk/>
            <pc:sldMk cId="245881457" sldId="2147375597"/>
            <ac:spMk id="13" creationId="{108F085C-3D35-E73E-BB1D-5A59DDF07807}"/>
          </ac:spMkLst>
        </pc:spChg>
        <pc:spChg chg="add del mod modVis">
          <ac:chgData name="Bhushan Madapura [UNext]" userId="2baadad7-7b8e-4632-a62a-dff9a334b569" providerId="ADAL" clId="{F6E155E8-D84C-463E-A3B7-5CF65E1FB393}" dt="2024-08-26T15:02:29.493" v="465"/>
          <ac:spMkLst>
            <pc:docMk/>
            <pc:sldMk cId="245881457" sldId="2147375597"/>
            <ac:spMk id="14" creationId="{FD077639-FA46-B2EB-4224-E6711B57240F}"/>
          </ac:spMkLst>
        </pc:spChg>
        <pc:spChg chg="add del mod modVis">
          <ac:chgData name="Bhushan Madapura [UNext]" userId="2baadad7-7b8e-4632-a62a-dff9a334b569" providerId="ADAL" clId="{F6E155E8-D84C-463E-A3B7-5CF65E1FB393}" dt="2024-08-26T15:02:30.865" v="493"/>
          <ac:spMkLst>
            <pc:docMk/>
            <pc:sldMk cId="245881457" sldId="2147375597"/>
            <ac:spMk id="15" creationId="{1E16E48F-964E-237C-2272-F1C5C3BD6DFB}"/>
          </ac:spMkLst>
        </pc:spChg>
        <pc:spChg chg="add del mod modVis">
          <ac:chgData name="Bhushan Madapura [UNext]" userId="2baadad7-7b8e-4632-a62a-dff9a334b569" providerId="ADAL" clId="{F6E155E8-D84C-463E-A3B7-5CF65E1FB393}" dt="2024-08-26T15:02:34.699" v="519"/>
          <ac:spMkLst>
            <pc:docMk/>
            <pc:sldMk cId="245881457" sldId="2147375597"/>
            <ac:spMk id="16" creationId="{2FB7EE4D-113A-28A8-38DA-B72C82A313B5}"/>
          </ac:spMkLst>
        </pc:spChg>
        <pc:spChg chg="add del mod modVis">
          <ac:chgData name="Bhushan Madapura [UNext]" userId="2baadad7-7b8e-4632-a62a-dff9a334b569" providerId="ADAL" clId="{F6E155E8-D84C-463E-A3B7-5CF65E1FB393}" dt="2024-08-26T15:02:39.441" v="548"/>
          <ac:spMkLst>
            <pc:docMk/>
            <pc:sldMk cId="245881457" sldId="2147375597"/>
            <ac:spMk id="17" creationId="{0D6A966C-30F1-101C-3E41-2B3BFDA2ADCE}"/>
          </ac:spMkLst>
        </pc:spChg>
        <pc:spChg chg="add del mod modVis">
          <ac:chgData name="Bhushan Madapura [UNext]" userId="2baadad7-7b8e-4632-a62a-dff9a334b569" providerId="ADAL" clId="{F6E155E8-D84C-463E-A3B7-5CF65E1FB393}" dt="2024-08-26T15:02:40.497" v="577"/>
          <ac:spMkLst>
            <pc:docMk/>
            <pc:sldMk cId="245881457" sldId="2147375597"/>
            <ac:spMk id="18" creationId="{83AE35D6-0BB2-4EAD-2978-28F7845B3D70}"/>
          </ac:spMkLst>
        </pc:spChg>
        <pc:graphicFrameChg chg="del">
          <ac:chgData name="Bhushan Madapura [UNext]" userId="2baadad7-7b8e-4632-a62a-dff9a334b569" providerId="ADAL" clId="{F6E155E8-D84C-463E-A3B7-5CF65E1FB393}" dt="2024-08-26T14:57:06.666" v="163" actId="478"/>
          <ac:graphicFrameMkLst>
            <pc:docMk/>
            <pc:sldMk cId="245881457" sldId="2147375597"/>
            <ac:graphicFrameMk id="6" creationId="{61C7CEDF-EBED-4F42-BCC0-1ACD4B4F27B8}"/>
          </ac:graphicFrameMkLst>
        </pc:graphicFrameChg>
        <pc:graphicFrameChg chg="add mod ord modVis">
          <ac:chgData name="Bhushan Madapura [UNext]" userId="2baadad7-7b8e-4632-a62a-dff9a334b569" providerId="ADAL" clId="{F6E155E8-D84C-463E-A3B7-5CF65E1FB393}" dt="2024-08-26T15:02:40.497" v="579"/>
          <ac:graphicFrameMkLst>
            <pc:docMk/>
            <pc:sldMk cId="245881457" sldId="2147375597"/>
            <ac:graphicFrameMk id="7" creationId="{3583FF9E-539E-FE29-E73B-3EF7E093601C}"/>
          </ac:graphicFrameMkLst>
        </pc:graphicFrameChg>
        <pc:picChg chg="add mod ord">
          <ac:chgData name="Bhushan Madapura [UNext]" userId="2baadad7-7b8e-4632-a62a-dff9a334b569" providerId="ADAL" clId="{F6E155E8-D84C-463E-A3B7-5CF65E1FB393}" dt="2024-08-26T14:59:21.608" v="229" actId="207"/>
          <ac:picMkLst>
            <pc:docMk/>
            <pc:sldMk cId="245881457" sldId="2147375597"/>
            <ac:picMk id="9" creationId="{8701F636-0E69-F494-2D36-9D9665F8A8DA}"/>
          </ac:picMkLst>
        </pc:picChg>
      </pc:sldChg>
      <pc:sldChg chg="addSp delSp modSp add del mod">
        <pc:chgData name="Bhushan Madapura [UNext]" userId="2baadad7-7b8e-4632-a62a-dff9a334b569" providerId="ADAL" clId="{F6E155E8-D84C-463E-A3B7-5CF65E1FB393}" dt="2024-08-26T15:00:38.337" v="315" actId="47"/>
        <pc:sldMkLst>
          <pc:docMk/>
          <pc:sldMk cId="2841683286" sldId="2147375598"/>
        </pc:sldMkLst>
        <pc:spChg chg="add del mod modVis">
          <ac:chgData name="Bhushan Madapura [UNext]" userId="2baadad7-7b8e-4632-a62a-dff9a334b569" providerId="ADAL" clId="{F6E155E8-D84C-463E-A3B7-5CF65E1FB393}" dt="2024-08-26T14:59:48.700" v="281"/>
          <ac:spMkLst>
            <pc:docMk/>
            <pc:sldMk cId="2841683286" sldId="2147375598"/>
            <ac:spMk id="2" creationId="{5351B170-2FDB-76F6-EC13-2B5E290212D0}"/>
          </ac:spMkLst>
        </pc:spChg>
        <pc:spChg chg="mod">
          <ac:chgData name="Bhushan Madapura [UNext]" userId="2baadad7-7b8e-4632-a62a-dff9a334b569" providerId="ADAL" clId="{F6E155E8-D84C-463E-A3B7-5CF65E1FB393}" dt="2024-08-26T14:59:48.669" v="259" actId="948"/>
          <ac:spMkLst>
            <pc:docMk/>
            <pc:sldMk cId="2841683286" sldId="2147375598"/>
            <ac:spMk id="3" creationId="{CEA128C4-A0BC-A895-713C-306E7FF62894}"/>
          </ac:spMkLst>
        </pc:spChg>
        <pc:graphicFrameChg chg="mod">
          <ac:chgData name="Bhushan Madapura [UNext]" userId="2baadad7-7b8e-4632-a62a-dff9a334b569" providerId="ADAL" clId="{F6E155E8-D84C-463E-A3B7-5CF65E1FB393}" dt="2024-08-26T14:59:48.700" v="283"/>
          <ac:graphicFrameMkLst>
            <pc:docMk/>
            <pc:sldMk cId="2841683286" sldId="2147375598"/>
            <ac:graphicFrameMk id="7" creationId="{3583FF9E-539E-FE29-E73B-3EF7E093601C}"/>
          </ac:graphicFrameMkLst>
        </pc:graphicFrameChg>
      </pc:sldChg>
      <pc:sldChg chg="addSp delSp modSp add del mod">
        <pc:chgData name="Bhushan Madapura [UNext]" userId="2baadad7-7b8e-4632-a62a-dff9a334b569" providerId="ADAL" clId="{F6E155E8-D84C-463E-A3B7-5CF65E1FB393}" dt="2024-08-26T15:00:38.715" v="316" actId="47"/>
        <pc:sldMkLst>
          <pc:docMk/>
          <pc:sldMk cId="2655284758" sldId="2147375599"/>
        </pc:sldMkLst>
        <pc:spChg chg="add del mod modVis">
          <ac:chgData name="Bhushan Madapura [UNext]" userId="2baadad7-7b8e-4632-a62a-dff9a334b569" providerId="ADAL" clId="{F6E155E8-D84C-463E-A3B7-5CF65E1FB393}" dt="2024-08-26T14:59:39.533" v="255"/>
          <ac:spMkLst>
            <pc:docMk/>
            <pc:sldMk cId="2655284758" sldId="2147375599"/>
            <ac:spMk id="2" creationId="{B9FC5A99-B3B3-B65E-6875-1F4E2471F1DC}"/>
          </ac:spMkLst>
        </pc:spChg>
        <pc:spChg chg="mod">
          <ac:chgData name="Bhushan Madapura [UNext]" userId="2baadad7-7b8e-4632-a62a-dff9a334b569" providerId="ADAL" clId="{F6E155E8-D84C-463E-A3B7-5CF65E1FB393}" dt="2024-08-26T14:59:53.411" v="285" actId="948"/>
          <ac:spMkLst>
            <pc:docMk/>
            <pc:sldMk cId="2655284758" sldId="214737559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4:59:53.454" v="307"/>
          <ac:spMkLst>
            <pc:docMk/>
            <pc:sldMk cId="2655284758" sldId="2147375599"/>
            <ac:spMk id="5" creationId="{70012F85-044A-B78F-237F-09F00322BA51}"/>
          </ac:spMkLst>
        </pc:spChg>
        <pc:graphicFrameChg chg="mod">
          <ac:chgData name="Bhushan Madapura [UNext]" userId="2baadad7-7b8e-4632-a62a-dff9a334b569" providerId="ADAL" clId="{F6E155E8-D84C-463E-A3B7-5CF65E1FB393}" dt="2024-08-26T14:59:53.458" v="309"/>
          <ac:graphicFrameMkLst>
            <pc:docMk/>
            <pc:sldMk cId="2655284758" sldId="214737559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44.854" v="754" actId="242"/>
        <pc:sldMkLst>
          <pc:docMk/>
          <pc:sldMk cId="1181112711" sldId="2147375600"/>
        </pc:sldMkLst>
        <pc:spChg chg="add del mod modVis">
          <ac:chgData name="Bhushan Madapura [UNext]" userId="2baadad7-7b8e-4632-a62a-dff9a334b569" providerId="ADAL" clId="{F6E155E8-D84C-463E-A3B7-5CF65E1FB393}" dt="2024-08-26T15:00:44.766" v="340"/>
          <ac:spMkLst>
            <pc:docMk/>
            <pc:sldMk cId="1181112711" sldId="2147375600"/>
            <ac:spMk id="2" creationId="{E80CD124-F595-E52F-1432-FF914FFD2B28}"/>
          </ac:spMkLst>
        </pc:spChg>
        <pc:spChg chg="mod">
          <ac:chgData name="Bhushan Madapura [UNext]" userId="2baadad7-7b8e-4632-a62a-dff9a334b569" providerId="ADAL" clId="{F6E155E8-D84C-463E-A3B7-5CF65E1FB393}" dt="2024-08-26T15:02:57.010" v="638" actId="948"/>
          <ac:spMkLst>
            <pc:docMk/>
            <pc:sldMk cId="1181112711" sldId="2147375600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2:51.743" v="631" actId="962"/>
          <ac:spMkLst>
            <pc:docMk/>
            <pc:sldMk cId="1181112711" sldId="2147375600"/>
            <ac:spMk id="5" creationId="{704C1F05-802D-23A5-C441-9788425E4ABD}"/>
          </ac:spMkLst>
        </pc:spChg>
        <pc:spChg chg="add del mod modVis">
          <ac:chgData name="Bhushan Madapura [UNext]" userId="2baadad7-7b8e-4632-a62a-dff9a334b569" providerId="ADAL" clId="{F6E155E8-D84C-463E-A3B7-5CF65E1FB393}" dt="2024-08-26T15:02:57.034" v="660"/>
          <ac:spMkLst>
            <pc:docMk/>
            <pc:sldMk cId="1181112711" sldId="2147375600"/>
            <ac:spMk id="6" creationId="{E406E18F-9F32-8E50-0C82-8EF357241043}"/>
          </ac:spMkLst>
        </pc:spChg>
        <pc:spChg chg="mod">
          <ac:chgData name="Bhushan Madapura [UNext]" userId="2baadad7-7b8e-4632-a62a-dff9a334b569" providerId="ADAL" clId="{F6E155E8-D84C-463E-A3B7-5CF65E1FB393}" dt="2024-08-26T15:04:44.854" v="754" actId="242"/>
          <ac:spMkLst>
            <pc:docMk/>
            <pc:sldMk cId="1181112711" sldId="2147375600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57.050" v="662"/>
          <ac:graphicFrameMkLst>
            <pc:docMk/>
            <pc:sldMk cId="1181112711" sldId="2147375600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4:39.188" v="753" actId="242"/>
        <pc:sldMkLst>
          <pc:docMk/>
          <pc:sldMk cId="3233747587" sldId="2147375601"/>
        </pc:sldMkLst>
        <pc:spChg chg="add del mod modVis">
          <ac:chgData name="Bhushan Madapura [UNext]" userId="2baadad7-7b8e-4632-a62a-dff9a334b569" providerId="ADAL" clId="{F6E155E8-D84C-463E-A3B7-5CF65E1FB393}" dt="2024-08-26T15:00:48.238" v="366"/>
          <ac:spMkLst>
            <pc:docMk/>
            <pc:sldMk cId="3233747587" sldId="2147375601"/>
            <ac:spMk id="2" creationId="{768902A0-D94C-0512-127F-6139A6EBBC9B}"/>
          </ac:spMkLst>
        </pc:spChg>
        <pc:spChg chg="mod">
          <ac:chgData name="Bhushan Madapura [UNext]" userId="2baadad7-7b8e-4632-a62a-dff9a334b569" providerId="ADAL" clId="{F6E155E8-D84C-463E-A3B7-5CF65E1FB393}" dt="2024-08-26T15:03:03.708" v="664" actId="948"/>
          <ac:spMkLst>
            <pc:docMk/>
            <pc:sldMk cId="3233747587" sldId="214737560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3:03.748" v="686"/>
          <ac:spMkLst>
            <pc:docMk/>
            <pc:sldMk cId="3233747587" sldId="2147375601"/>
            <ac:spMk id="5" creationId="{A871ED72-39DA-7EDE-C584-E7C6C1FB50D2}"/>
          </ac:spMkLst>
        </pc:spChg>
        <pc:spChg chg="mod">
          <ac:chgData name="Bhushan Madapura [UNext]" userId="2baadad7-7b8e-4632-a62a-dff9a334b569" providerId="ADAL" clId="{F6E155E8-D84C-463E-A3B7-5CF65E1FB393}" dt="2024-08-26T15:04:39.188" v="753" actId="242"/>
          <ac:spMkLst>
            <pc:docMk/>
            <pc:sldMk cId="3233747587" sldId="2147375601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03.748" v="688"/>
          <ac:graphicFrameMkLst>
            <pc:docMk/>
            <pc:sldMk cId="3233747587" sldId="2147375601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1:46.909" v="387" actId="207"/>
        <pc:sldMkLst>
          <pc:docMk/>
          <pc:sldMk cId="832949157" sldId="2147375602"/>
        </pc:sldMkLst>
        <pc:spChg chg="mod">
          <ac:chgData name="Bhushan Madapura [UNext]" userId="2baadad7-7b8e-4632-a62a-dff9a334b569" providerId="ADAL" clId="{F6E155E8-D84C-463E-A3B7-5CF65E1FB393}" dt="2024-08-26T15:01:31.979" v="384" actId="20577"/>
          <ac:spMkLst>
            <pc:docMk/>
            <pc:sldMk cId="832949157" sldId="2147375602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01:36.713" v="385" actId="478"/>
          <ac:picMkLst>
            <pc:docMk/>
            <pc:sldMk cId="832949157" sldId="2147375602"/>
            <ac:picMk id="2" creationId="{5ED103A7-D95B-E42C-6356-53269A110E83}"/>
          </ac:picMkLst>
        </pc:picChg>
        <pc:picChg chg="add mod">
          <ac:chgData name="Bhushan Madapura [UNext]" userId="2baadad7-7b8e-4632-a62a-dff9a334b569" providerId="ADAL" clId="{F6E155E8-D84C-463E-A3B7-5CF65E1FB393}" dt="2024-08-26T15:01:46.909" v="387" actId="207"/>
          <ac:picMkLst>
            <pc:docMk/>
            <pc:sldMk cId="832949157" sldId="2147375602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34.423" v="1680" actId="21"/>
        <pc:sldMkLst>
          <pc:docMk/>
          <pc:sldMk cId="3971512377" sldId="2147375603"/>
        </pc:sldMkLst>
        <pc:spChg chg="add del mod modVis">
          <ac:chgData name="Bhushan Madapura [UNext]" userId="2baadad7-7b8e-4632-a62a-dff9a334b569" providerId="ADAL" clId="{F6E155E8-D84C-463E-A3B7-5CF65E1FB393}" dt="2024-08-26T15:02:21.218" v="412"/>
          <ac:spMkLst>
            <pc:docMk/>
            <pc:sldMk cId="3971512377" sldId="2147375603"/>
            <ac:spMk id="2" creationId="{7B78F954-A2B4-2235-870A-4AA977895067}"/>
          </ac:spMkLst>
        </pc:spChg>
        <pc:spChg chg="mod">
          <ac:chgData name="Bhushan Madapura [UNext]" userId="2baadad7-7b8e-4632-a62a-dff9a334b569" providerId="ADAL" clId="{F6E155E8-D84C-463E-A3B7-5CF65E1FB393}" dt="2024-08-26T15:02:21.163" v="390" actId="948"/>
          <ac:spMkLst>
            <pc:docMk/>
            <pc:sldMk cId="3971512377" sldId="2147375603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34.423" v="1680" actId="21"/>
          <ac:spMkLst>
            <pc:docMk/>
            <pc:sldMk cId="3971512377" sldId="2147375603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31.831" v="757" actId="122"/>
          <ac:spMkLst>
            <pc:docMk/>
            <pc:sldMk cId="3971512377" sldId="2147375603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2:21.218" v="414"/>
          <ac:graphicFrameMkLst>
            <pc:docMk/>
            <pc:sldMk cId="3971512377" sldId="214737560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3:34.413" v="694" actId="1035"/>
          <ac:picMkLst>
            <pc:docMk/>
            <pc:sldMk cId="3971512377" sldId="2147375603"/>
            <ac:picMk id="5" creationId="{0916C17C-12F9-BFD4-9A8B-40B3CFCA8C07}"/>
          </ac:picMkLst>
        </pc:picChg>
        <pc:picChg chg="del">
          <ac:chgData name="Bhushan Madapura [UNext]" userId="2baadad7-7b8e-4632-a62a-dff9a334b569" providerId="ADAL" clId="{F6E155E8-D84C-463E-A3B7-5CF65E1FB393}" dt="2024-08-26T15:03:18.900" v="689" actId="478"/>
          <ac:picMkLst>
            <pc:docMk/>
            <pc:sldMk cId="3971512377" sldId="2147375603"/>
            <ac:picMk id="9" creationId="{8701F636-0E69-F494-2D36-9D9665F8A8DA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25.350" v="1671" actId="20577"/>
        <pc:sldMkLst>
          <pc:docMk/>
          <pc:sldMk cId="3179805674" sldId="2147375604"/>
        </pc:sldMkLst>
        <pc:spChg chg="add del mod modVis">
          <ac:chgData name="Bhushan Madapura [UNext]" userId="2baadad7-7b8e-4632-a62a-dff9a334b569" providerId="ADAL" clId="{F6E155E8-D84C-463E-A3B7-5CF65E1FB393}" dt="2024-08-26T15:03:46.493" v="720"/>
          <ac:spMkLst>
            <pc:docMk/>
            <pc:sldMk cId="3179805674" sldId="2147375604"/>
            <ac:spMk id="2" creationId="{E4D72A80-75DB-E87A-1BBE-55E60409264F}"/>
          </ac:spMkLst>
        </pc:spChg>
        <pc:spChg chg="mod">
          <ac:chgData name="Bhushan Madapura [UNext]" userId="2baadad7-7b8e-4632-a62a-dff9a334b569" providerId="ADAL" clId="{F6E155E8-D84C-463E-A3B7-5CF65E1FB393}" dt="2024-08-26T15:03:46.448" v="698" actId="948"/>
          <ac:spMkLst>
            <pc:docMk/>
            <pc:sldMk cId="3179805674" sldId="2147375604"/>
            <ac:spMk id="3" creationId="{CEA128C4-A0BC-A895-713C-306E7FF62894}"/>
          </ac:spMkLst>
        </pc:spChg>
        <pc:spChg chg="mod">
          <ac:chgData name="Bhushan Madapura [UNext]" userId="2baadad7-7b8e-4632-a62a-dff9a334b569" providerId="ADAL" clId="{F6E155E8-D84C-463E-A3B7-5CF65E1FB393}" dt="2024-08-26T15:20:25.350" v="1671" actId="20577"/>
          <ac:spMkLst>
            <pc:docMk/>
            <pc:sldMk cId="3179805674" sldId="2147375604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42.020" v="759" actId="242"/>
          <ac:spMkLst>
            <pc:docMk/>
            <pc:sldMk cId="3179805674" sldId="2147375604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46.509" v="722"/>
          <ac:graphicFrameMkLst>
            <pc:docMk/>
            <pc:sldMk cId="3179805674" sldId="2147375604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24.074" v="1667" actId="20577"/>
        <pc:sldMkLst>
          <pc:docMk/>
          <pc:sldMk cId="86366928" sldId="2147375605"/>
        </pc:sldMkLst>
        <pc:spChg chg="add del mod modVis">
          <ac:chgData name="Bhushan Madapura [UNext]" userId="2baadad7-7b8e-4632-a62a-dff9a334b569" providerId="ADAL" clId="{F6E155E8-D84C-463E-A3B7-5CF65E1FB393}" dt="2024-08-26T15:03:50.125" v="746"/>
          <ac:spMkLst>
            <pc:docMk/>
            <pc:sldMk cId="86366928" sldId="2147375605"/>
            <ac:spMk id="2" creationId="{3C9B2D13-64E0-82E6-FA58-0AC952830673}"/>
          </ac:spMkLst>
        </pc:spChg>
        <pc:spChg chg="mod">
          <ac:chgData name="Bhushan Madapura [UNext]" userId="2baadad7-7b8e-4632-a62a-dff9a334b569" providerId="ADAL" clId="{F6E155E8-D84C-463E-A3B7-5CF65E1FB393}" dt="2024-08-26T15:03:50.066" v="724" actId="948"/>
          <ac:spMkLst>
            <pc:docMk/>
            <pc:sldMk cId="86366928" sldId="2147375605"/>
            <ac:spMk id="3" creationId="{CEA128C4-A0BC-A895-713C-306E7FF62894}"/>
          </ac:spMkLst>
        </pc:spChg>
        <pc:spChg chg="add del">
          <ac:chgData name="Bhushan Madapura [UNext]" userId="2baadad7-7b8e-4632-a62a-dff9a334b569" providerId="ADAL" clId="{F6E155E8-D84C-463E-A3B7-5CF65E1FB393}" dt="2024-08-26T15:07:40.970" v="765" actId="22"/>
          <ac:spMkLst>
            <pc:docMk/>
            <pc:sldMk cId="86366928" sldId="2147375605"/>
            <ac:spMk id="8" creationId="{65F62A7D-C78C-CB76-6341-8F0A31B923F9}"/>
          </ac:spMkLst>
        </pc:spChg>
        <pc:spChg chg="mod">
          <ac:chgData name="Bhushan Madapura [UNext]" userId="2baadad7-7b8e-4632-a62a-dff9a334b569" providerId="ADAL" clId="{F6E155E8-D84C-463E-A3B7-5CF65E1FB393}" dt="2024-08-26T15:20:24.074" v="1667" actId="20577"/>
          <ac:spMkLst>
            <pc:docMk/>
            <pc:sldMk cId="86366928" sldId="2147375605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6:53.496" v="761" actId="242"/>
          <ac:spMkLst>
            <pc:docMk/>
            <pc:sldMk cId="86366928" sldId="2147375605"/>
            <ac:spMk id="12" creationId="{E53E5C3F-4D2B-B85F-E592-E58E032C664C}"/>
          </ac:spMkLst>
        </pc:spChg>
        <pc:graphicFrameChg chg="mod">
          <ac:chgData name="Bhushan Madapura [UNext]" userId="2baadad7-7b8e-4632-a62a-dff9a334b569" providerId="ADAL" clId="{F6E155E8-D84C-463E-A3B7-5CF65E1FB393}" dt="2024-08-26T15:03:50.140" v="748"/>
          <ac:graphicFrameMkLst>
            <pc:docMk/>
            <pc:sldMk cId="86366928" sldId="2147375605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08:22.982" v="799" actId="207"/>
        <pc:sldMkLst>
          <pc:docMk/>
          <pc:sldMk cId="2653617092" sldId="2147375606"/>
        </pc:sldMkLst>
        <pc:spChg chg="mod">
          <ac:chgData name="Bhushan Madapura [UNext]" userId="2baadad7-7b8e-4632-a62a-dff9a334b569" providerId="ADAL" clId="{F6E155E8-D84C-463E-A3B7-5CF65E1FB393}" dt="2024-08-26T15:08:09.283" v="796"/>
          <ac:spMkLst>
            <pc:docMk/>
            <pc:sldMk cId="2653617092" sldId="2147375606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08:22.982" v="799" actId="207"/>
          <ac:picMkLst>
            <pc:docMk/>
            <pc:sldMk cId="2653617092" sldId="2147375606"/>
            <ac:picMk id="2" creationId="{F2FEB897-CC3D-F8EF-554F-5F219373693B}"/>
          </ac:picMkLst>
        </pc:picChg>
        <pc:picChg chg="del">
          <ac:chgData name="Bhushan Madapura [UNext]" userId="2baadad7-7b8e-4632-a62a-dff9a334b569" providerId="ADAL" clId="{F6E155E8-D84C-463E-A3B7-5CF65E1FB393}" dt="2024-08-26T15:08:15.070" v="797" actId="478"/>
          <ac:picMkLst>
            <pc:docMk/>
            <pc:sldMk cId="2653617092" sldId="2147375606"/>
            <ac:picMk id="4" creationId="{7164DAAD-2874-8D6F-8FCF-5053DEE24E33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44.036" v="1685" actId="20577"/>
        <pc:sldMkLst>
          <pc:docMk/>
          <pc:sldMk cId="2340944189" sldId="2147375607"/>
        </pc:sldMkLst>
        <pc:spChg chg="mod">
          <ac:chgData name="Bhushan Madapura [UNext]" userId="2baadad7-7b8e-4632-a62a-dff9a334b569" providerId="ADAL" clId="{F6E155E8-D84C-463E-A3B7-5CF65E1FB393}" dt="2024-08-26T15:09:01.667" v="891" actId="948"/>
          <ac:spMkLst>
            <pc:docMk/>
            <pc:sldMk cId="2340944189" sldId="2147375607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08:56.320" v="826"/>
          <ac:spMkLst>
            <pc:docMk/>
            <pc:sldMk cId="2340944189" sldId="2147375607"/>
            <ac:spMk id="6" creationId="{8E365745-15F5-364A-D81A-2FC38F051F48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300" v="856"/>
          <ac:spMkLst>
            <pc:docMk/>
            <pc:sldMk cId="2340944189" sldId="2147375607"/>
            <ac:spMk id="8" creationId="{24951F50-5AA8-0F7A-289B-2B52AFE303D0}"/>
          </ac:spMkLst>
        </pc:spChg>
        <pc:spChg chg="add del mod modVis">
          <ac:chgData name="Bhushan Madapura [UNext]" userId="2baadad7-7b8e-4632-a62a-dff9a334b569" providerId="ADAL" clId="{F6E155E8-D84C-463E-A3B7-5CF65E1FB393}" dt="2024-08-26T15:08:59.914" v="882"/>
          <ac:spMkLst>
            <pc:docMk/>
            <pc:sldMk cId="2340944189" sldId="2147375607"/>
            <ac:spMk id="9" creationId="{6BAA1675-EB45-17B2-6E06-4B178B9CB97E}"/>
          </ac:spMkLst>
        </pc:spChg>
        <pc:spChg chg="mod">
          <ac:chgData name="Bhushan Madapura [UNext]" userId="2baadad7-7b8e-4632-a62a-dff9a334b569" providerId="ADAL" clId="{F6E155E8-D84C-463E-A3B7-5CF65E1FB393}" dt="2024-08-26T15:20:44.036" v="1685" actId="20577"/>
          <ac:spMkLst>
            <pc:docMk/>
            <pc:sldMk cId="2340944189" sldId="2147375607"/>
            <ac:spMk id="11" creationId="{DE9F1BE0-7910-FA1B-DCE8-56EFD1E4FC09}"/>
          </ac:spMkLst>
        </pc:spChg>
        <pc:spChg chg="mod">
          <ac:chgData name="Bhushan Madapura [UNext]" userId="2baadad7-7b8e-4632-a62a-dff9a334b569" providerId="ADAL" clId="{F6E155E8-D84C-463E-A3B7-5CF65E1FB393}" dt="2024-08-26T15:09:51.588" v="955" actId="122"/>
          <ac:spMkLst>
            <pc:docMk/>
            <pc:sldMk cId="2340944189" sldId="2147375607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09:01.714" v="913"/>
          <ac:spMkLst>
            <pc:docMk/>
            <pc:sldMk cId="2340944189" sldId="2147375607"/>
            <ac:spMk id="13" creationId="{5A99A12D-3656-2CE5-075F-8AB6512D8DC6}"/>
          </ac:spMkLst>
        </pc:spChg>
        <pc:graphicFrameChg chg="mod">
          <ac:chgData name="Bhushan Madapura [UNext]" userId="2baadad7-7b8e-4632-a62a-dff9a334b569" providerId="ADAL" clId="{F6E155E8-D84C-463E-A3B7-5CF65E1FB393}" dt="2024-08-26T15:09:01.714" v="915"/>
          <ac:graphicFrameMkLst>
            <pc:docMk/>
            <pc:sldMk cId="2340944189" sldId="2147375607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08:39.880" v="802" actId="1076"/>
          <ac:picMkLst>
            <pc:docMk/>
            <pc:sldMk cId="2340944189" sldId="2147375607"/>
            <ac:picMk id="2" creationId="{D0FBC2C9-FE71-44D5-391E-1BAA2958F5EE}"/>
          </ac:picMkLst>
        </pc:picChg>
        <pc:picChg chg="del">
          <ac:chgData name="Bhushan Madapura [UNext]" userId="2baadad7-7b8e-4632-a62a-dff9a334b569" providerId="ADAL" clId="{F6E155E8-D84C-463E-A3B7-5CF65E1FB393}" dt="2024-08-26T15:08:34.820" v="801" actId="478"/>
          <ac:picMkLst>
            <pc:docMk/>
            <pc:sldMk cId="2340944189" sldId="2147375607"/>
            <ac:picMk id="5" creationId="{0916C17C-12F9-BFD4-9A8B-40B3CFCA8C0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20:50.050" v="1689" actId="20577"/>
        <pc:sldMkLst>
          <pc:docMk/>
          <pc:sldMk cId="3159148252" sldId="2147375608"/>
        </pc:sldMkLst>
        <pc:spChg chg="mod">
          <ac:chgData name="Bhushan Madapura [UNext]" userId="2baadad7-7b8e-4632-a62a-dff9a334b569" providerId="ADAL" clId="{F6E155E8-D84C-463E-A3B7-5CF65E1FB393}" dt="2024-08-26T15:10:02.666" v="959" actId="948"/>
          <ac:spMkLst>
            <pc:docMk/>
            <pc:sldMk cId="3159148252" sldId="2147375608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2.713" v="981"/>
          <ac:spMkLst>
            <pc:docMk/>
            <pc:sldMk cId="3159148252" sldId="2147375608"/>
            <ac:spMk id="5" creationId="{54D199AF-862A-4F29-C2C4-4C94E5E22352}"/>
          </ac:spMkLst>
        </pc:spChg>
        <pc:spChg chg="mod">
          <ac:chgData name="Bhushan Madapura [UNext]" userId="2baadad7-7b8e-4632-a62a-dff9a334b569" providerId="ADAL" clId="{F6E155E8-D84C-463E-A3B7-5CF65E1FB393}" dt="2024-08-26T15:20:50.050" v="1689" actId="20577"/>
          <ac:spMkLst>
            <pc:docMk/>
            <pc:sldMk cId="3159148252" sldId="2147375608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2.713" v="983"/>
          <ac:graphicFrameMkLst>
            <pc:docMk/>
            <pc:sldMk cId="3159148252" sldId="2147375608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20:53.723" v="1693" actId="20577"/>
        <pc:sldMkLst>
          <pc:docMk/>
          <pc:sldMk cId="3070204084" sldId="2147375609"/>
        </pc:sldMkLst>
        <pc:spChg chg="mod">
          <ac:chgData name="Bhushan Madapura [UNext]" userId="2baadad7-7b8e-4632-a62a-dff9a334b569" providerId="ADAL" clId="{F6E155E8-D84C-463E-A3B7-5CF65E1FB393}" dt="2024-08-26T15:10:07.137" v="985" actId="948"/>
          <ac:spMkLst>
            <pc:docMk/>
            <pc:sldMk cId="3070204084" sldId="2147375609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0:07.177" v="1007"/>
          <ac:spMkLst>
            <pc:docMk/>
            <pc:sldMk cId="3070204084" sldId="2147375609"/>
            <ac:spMk id="5" creationId="{B2DE76A2-21CA-F44E-3677-2894E884A458}"/>
          </ac:spMkLst>
        </pc:spChg>
        <pc:spChg chg="mod">
          <ac:chgData name="Bhushan Madapura [UNext]" userId="2baadad7-7b8e-4632-a62a-dff9a334b569" providerId="ADAL" clId="{F6E155E8-D84C-463E-A3B7-5CF65E1FB393}" dt="2024-08-26T15:20:53.723" v="1693" actId="20577"/>
          <ac:spMkLst>
            <pc:docMk/>
            <pc:sldMk cId="3070204084" sldId="2147375609"/>
            <ac:spMk id="11" creationId="{DE9F1BE0-7910-FA1B-DCE8-56EFD1E4FC09}"/>
          </ac:spMkLst>
        </pc:spChg>
        <pc:graphicFrameChg chg="mod">
          <ac:chgData name="Bhushan Madapura [UNext]" userId="2baadad7-7b8e-4632-a62a-dff9a334b569" providerId="ADAL" clId="{F6E155E8-D84C-463E-A3B7-5CF65E1FB393}" dt="2024-08-26T15:10:07.196" v="1009"/>
          <ac:graphicFrameMkLst>
            <pc:docMk/>
            <pc:sldMk cId="3070204084" sldId="2147375609"/>
            <ac:graphicFrameMk id="7" creationId="{3583FF9E-539E-FE29-E73B-3EF7E093601C}"/>
          </ac:graphicFrameMkLst>
        </pc:graphicFrameChg>
      </pc:sldChg>
      <pc:sldChg chg="addSp delSp modSp add mod">
        <pc:chgData name="Bhushan Madapura [UNext]" userId="2baadad7-7b8e-4632-a62a-dff9a334b569" providerId="ADAL" clId="{F6E155E8-D84C-463E-A3B7-5CF65E1FB393}" dt="2024-08-26T15:10:51.626" v="1026" actId="207"/>
        <pc:sldMkLst>
          <pc:docMk/>
          <pc:sldMk cId="12943417" sldId="2147375610"/>
        </pc:sldMkLst>
        <pc:spChg chg="mod">
          <ac:chgData name="Bhushan Madapura [UNext]" userId="2baadad7-7b8e-4632-a62a-dff9a334b569" providerId="ADAL" clId="{F6E155E8-D84C-463E-A3B7-5CF65E1FB393}" dt="2024-08-26T15:10:39.492" v="1023" actId="20577"/>
          <ac:spMkLst>
            <pc:docMk/>
            <pc:sldMk cId="12943417" sldId="2147375610"/>
            <ac:spMk id="3" creationId="{C02D07F7-B946-BB66-E6EA-DD92C38B1926}"/>
          </ac:spMkLst>
        </pc:spChg>
        <pc:picChg chg="del">
          <ac:chgData name="Bhushan Madapura [UNext]" userId="2baadad7-7b8e-4632-a62a-dff9a334b569" providerId="ADAL" clId="{F6E155E8-D84C-463E-A3B7-5CF65E1FB393}" dt="2024-08-26T15:10:43.027" v="1024" actId="478"/>
          <ac:picMkLst>
            <pc:docMk/>
            <pc:sldMk cId="12943417" sldId="2147375610"/>
            <ac:picMk id="2" creationId="{F2FEB897-CC3D-F8EF-554F-5F219373693B}"/>
          </ac:picMkLst>
        </pc:picChg>
        <pc:picChg chg="add mod">
          <ac:chgData name="Bhushan Madapura [UNext]" userId="2baadad7-7b8e-4632-a62a-dff9a334b569" providerId="ADAL" clId="{F6E155E8-D84C-463E-A3B7-5CF65E1FB393}" dt="2024-08-26T15:10:51.626" v="1026" actId="207"/>
          <ac:picMkLst>
            <pc:docMk/>
            <pc:sldMk cId="12943417" sldId="2147375610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4:14.777" v="1380" actId="207"/>
        <pc:sldMkLst>
          <pc:docMk/>
          <pc:sldMk cId="3754613224" sldId="2147375611"/>
        </pc:sldMkLst>
        <pc:spChg chg="mod">
          <ac:chgData name="Bhushan Madapura [UNext]" userId="2baadad7-7b8e-4632-a62a-dff9a334b569" providerId="ADAL" clId="{F6E155E8-D84C-463E-A3B7-5CF65E1FB393}" dt="2024-08-26T15:11:59.253" v="1315" actId="948"/>
          <ac:spMkLst>
            <pc:docMk/>
            <pc:sldMk cId="3754613224" sldId="2147375611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1:41.241" v="1061"/>
          <ac:spMkLst>
            <pc:docMk/>
            <pc:sldMk cId="3754613224" sldId="2147375611"/>
            <ac:spMk id="6" creationId="{37C9C12D-5F89-5A37-A538-47F3C6DEAD0C}"/>
          </ac:spMkLst>
        </pc:spChg>
        <pc:spChg chg="add del mod modVis">
          <ac:chgData name="Bhushan Madapura [UNext]" userId="2baadad7-7b8e-4632-a62a-dff9a334b569" providerId="ADAL" clId="{F6E155E8-D84C-463E-A3B7-5CF65E1FB393}" dt="2024-08-26T15:11:42.457" v="1088"/>
          <ac:spMkLst>
            <pc:docMk/>
            <pc:sldMk cId="3754613224" sldId="2147375611"/>
            <ac:spMk id="8" creationId="{31F7281E-02FE-258A-AC7E-3B325FFEE857}"/>
          </ac:spMkLst>
        </pc:spChg>
        <pc:spChg chg="add del mod modVis">
          <ac:chgData name="Bhushan Madapura [UNext]" userId="2baadad7-7b8e-4632-a62a-dff9a334b569" providerId="ADAL" clId="{F6E155E8-D84C-463E-A3B7-5CF65E1FB393}" dt="2024-08-26T15:11:45.446" v="1118"/>
          <ac:spMkLst>
            <pc:docMk/>
            <pc:sldMk cId="3754613224" sldId="2147375611"/>
            <ac:spMk id="9" creationId="{DF8DE873-89D3-A7B9-D32F-7E42334F008D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1" creationId="{DE9F1BE0-7910-FA1B-DCE8-56EFD1E4FC09}"/>
          </ac:spMkLst>
        </pc:spChg>
        <pc:spChg chg="del">
          <ac:chgData name="Bhushan Madapura [UNext]" userId="2baadad7-7b8e-4632-a62a-dff9a334b569" providerId="ADAL" clId="{F6E155E8-D84C-463E-A3B7-5CF65E1FB393}" dt="2024-08-26T15:11:24.078" v="1033" actId="478"/>
          <ac:spMkLst>
            <pc:docMk/>
            <pc:sldMk cId="3754613224" sldId="2147375611"/>
            <ac:spMk id="12" creationId="{E53E5C3F-4D2B-B85F-E592-E58E032C664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2.266" v="1226" actId="962"/>
          <ac:spMkLst>
            <pc:docMk/>
            <pc:sldMk cId="3754613224" sldId="2147375611"/>
            <ac:spMk id="13" creationId="{43639060-102A-2B79-326F-01F9E7A963CE}"/>
          </ac:spMkLst>
        </pc:spChg>
        <pc:spChg chg="add del mod modVis">
          <ac:chgData name="Bhushan Madapura [UNext]" userId="2baadad7-7b8e-4632-a62a-dff9a334b569" providerId="ADAL" clId="{F6E155E8-D84C-463E-A3B7-5CF65E1FB393}" dt="2024-08-26T15:11:51.125" v="1204" actId="962"/>
          <ac:spMkLst>
            <pc:docMk/>
            <pc:sldMk cId="3754613224" sldId="2147375611"/>
            <ac:spMk id="14" creationId="{99D52187-2C9F-DB4A-7514-2F8FC3C0FC54}"/>
          </ac:spMkLst>
        </pc:spChg>
        <pc:spChg chg="add del mod modVis">
          <ac:chgData name="Bhushan Madapura [UNext]" userId="2baadad7-7b8e-4632-a62a-dff9a334b569" providerId="ADAL" clId="{F6E155E8-D84C-463E-A3B7-5CF65E1FB393}" dt="2024-08-26T15:11:54.813" v="1262"/>
          <ac:spMkLst>
            <pc:docMk/>
            <pc:sldMk cId="3754613224" sldId="2147375611"/>
            <ac:spMk id="15" creationId="{7B11F048-CD43-F6FC-C32E-BD1E57BB325C}"/>
          </ac:spMkLst>
        </pc:spChg>
        <pc:spChg chg="add del mod modVis">
          <ac:chgData name="Bhushan Madapura [UNext]" userId="2baadad7-7b8e-4632-a62a-dff9a334b569" providerId="ADAL" clId="{F6E155E8-D84C-463E-A3B7-5CF65E1FB393}" dt="2024-08-26T15:11:58.702" v="1311"/>
          <ac:spMkLst>
            <pc:docMk/>
            <pc:sldMk cId="3754613224" sldId="2147375611"/>
            <ac:spMk id="16" creationId="{F86522A6-90E0-07AD-C025-7A90268C7052}"/>
          </ac:spMkLst>
        </pc:spChg>
        <pc:spChg chg="add del mod modVis">
          <ac:chgData name="Bhushan Madapura [UNext]" userId="2baadad7-7b8e-4632-a62a-dff9a334b569" providerId="ADAL" clId="{F6E155E8-D84C-463E-A3B7-5CF65E1FB393}" dt="2024-08-26T15:11:59.295" v="1337"/>
          <ac:spMkLst>
            <pc:docMk/>
            <pc:sldMk cId="3754613224" sldId="2147375611"/>
            <ac:spMk id="17" creationId="{432B17AC-36EC-2DE0-0988-F03DEA76F34E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8" creationId="{6C73795A-BE20-7075-E9C6-6F145CE60794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19" creationId="{A3E2F4D1-4417-E244-3DB9-A6FF5866A342}"/>
          </ac:spMkLst>
        </pc:spChg>
        <pc:spChg chg="add mod">
          <ac:chgData name="Bhushan Madapura [UNext]" userId="2baadad7-7b8e-4632-a62a-dff9a334b569" providerId="ADAL" clId="{F6E155E8-D84C-463E-A3B7-5CF65E1FB393}" dt="2024-08-26T15:12:27.656" v="1346" actId="14861"/>
          <ac:spMkLst>
            <pc:docMk/>
            <pc:sldMk cId="3754613224" sldId="2147375611"/>
            <ac:spMk id="20" creationId="{3EBEB0AC-D407-44FD-A74F-90F67F3D13C3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1" creationId="{DF8FD767-7EE2-8BA3-9320-45A7293391FF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2" creationId="{9289516E-B769-4A13-DD90-39AC62DED9BD}"/>
          </ac:spMkLst>
        </pc:spChg>
        <pc:spChg chg="add mod">
          <ac:chgData name="Bhushan Madapura [UNext]" userId="2baadad7-7b8e-4632-a62a-dff9a334b569" providerId="ADAL" clId="{F6E155E8-D84C-463E-A3B7-5CF65E1FB393}" dt="2024-08-26T15:13:43.010" v="1377" actId="403"/>
          <ac:spMkLst>
            <pc:docMk/>
            <pc:sldMk cId="3754613224" sldId="2147375611"/>
            <ac:spMk id="23" creationId="{4461DDA7-0DFB-87EE-DF38-AA6219713C1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5" creationId="{3A38CCAC-78C9-81D4-1E36-CB51C7166169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6" creationId="{E083201A-5603-E7AE-C4E0-0A003C89B464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28" creationId="{0D5B9A7E-609B-61CB-6B76-65F108A044F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0" creationId="{6A73770E-F6A1-75D7-11EF-CB4EC6F3B336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1" creationId="{3529665D-D778-71CC-E4C5-628FF603244E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2" creationId="{1D07999A-0B9E-EABC-79E7-1E3F332E33D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3" creationId="{417F16D0-0B89-5C5D-14AF-5F751A829BE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4" creationId="{EBCE8487-1B7B-DC4F-4D30-0095CB46F85B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5" creationId="{6C353EFD-0A51-247D-9F9E-964856BBE9A0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7" creationId="{B380DB8B-E26A-8E61-2773-43637836E1B1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39" creationId="{EA3947DC-A4F0-4BBD-41F0-EA78C084B8E8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0" creationId="{3CF09D77-F139-589A-402B-7F84A005143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1" creationId="{DF1C3F24-8703-6BE4-9364-F8F863E7757D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2" creationId="{1DE81C7A-C97B-97B8-B392-DBCDDA5F8A0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4" creationId="{30FC6696-8ED2-5800-8AD1-C2F5C1FCEEDC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6" creationId="{0B8AAE0D-A0CC-6781-4119-45DC8DA00CC2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7" creationId="{C4AA161E-775B-9704-92E4-4BAC4DDBBBE7}"/>
          </ac:spMkLst>
        </pc:spChg>
        <pc:spChg chg="mod">
          <ac:chgData name="Bhushan Madapura [UNext]" userId="2baadad7-7b8e-4632-a62a-dff9a334b569" providerId="ADAL" clId="{F6E155E8-D84C-463E-A3B7-5CF65E1FB393}" dt="2024-08-26T15:14:02.369" v="1379" actId="1076"/>
          <ac:spMkLst>
            <pc:docMk/>
            <pc:sldMk cId="3754613224" sldId="2147375611"/>
            <ac:spMk id="48" creationId="{CFC8005E-4EBB-D416-EE9D-B49224478123}"/>
          </ac:spMkLst>
        </pc:s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4" creationId="{DCA04876-65F9-DDA2-9E8E-9D570857B2A5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27" creationId="{B808CBE1-9B84-7818-F1B7-F6B6847390C9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29" creationId="{1C95187E-2D4F-6A0D-B336-8B096F1468D7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36" creationId="{687B6C54-1790-E64F-C35E-76DA0084E125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38" creationId="{31961FAE-21E7-F95B-70E1-CB3C7A6E0466}"/>
          </ac:grpSpMkLst>
        </pc:grpChg>
        <pc:grpChg chg="add mod">
          <ac:chgData name="Bhushan Madapura [UNext]" userId="2baadad7-7b8e-4632-a62a-dff9a334b569" providerId="ADAL" clId="{F6E155E8-D84C-463E-A3B7-5CF65E1FB393}" dt="2024-08-26T15:14:14.777" v="1380" actId="207"/>
          <ac:grpSpMkLst>
            <pc:docMk/>
            <pc:sldMk cId="3754613224" sldId="2147375611"/>
            <ac:grpSpMk id="43" creationId="{3B45C904-9ACC-B1CD-AC94-A5F94AF041AF}"/>
          </ac:grpSpMkLst>
        </pc:grpChg>
        <pc:grpChg chg="mod">
          <ac:chgData name="Bhushan Madapura [UNext]" userId="2baadad7-7b8e-4632-a62a-dff9a334b569" providerId="ADAL" clId="{F6E155E8-D84C-463E-A3B7-5CF65E1FB393}" dt="2024-08-26T15:14:02.369" v="1379" actId="1076"/>
          <ac:grpSpMkLst>
            <pc:docMk/>
            <pc:sldMk cId="3754613224" sldId="2147375611"/>
            <ac:grpSpMk id="45" creationId="{6B0F16DB-169E-EC84-058E-2EA7335875D9}"/>
          </ac:grpSpMkLst>
        </pc:grpChg>
        <pc:graphicFrameChg chg="mod">
          <ac:chgData name="Bhushan Madapura [UNext]" userId="2baadad7-7b8e-4632-a62a-dff9a334b569" providerId="ADAL" clId="{F6E155E8-D84C-463E-A3B7-5CF65E1FB393}" dt="2024-08-26T15:11:59.300" v="1339"/>
          <ac:graphicFrameMkLst>
            <pc:docMk/>
            <pc:sldMk cId="3754613224" sldId="2147375611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1:14.539" v="1030" actId="478"/>
          <ac:picMkLst>
            <pc:docMk/>
            <pc:sldMk cId="3754613224" sldId="2147375611"/>
            <ac:picMk id="2" creationId="{D0FBC2C9-FE71-44D5-391E-1BAA2958F5EE}"/>
          </ac:picMkLst>
        </pc:picChg>
        <pc:picChg chg="add mod">
          <ac:chgData name="Bhushan Madapura [UNext]" userId="2baadad7-7b8e-4632-a62a-dff9a334b569" providerId="ADAL" clId="{F6E155E8-D84C-463E-A3B7-5CF65E1FB393}" dt="2024-08-26T15:11:19.640" v="1032" actId="1076"/>
          <ac:picMkLst>
            <pc:docMk/>
            <pc:sldMk cId="3754613224" sldId="2147375611"/>
            <ac:picMk id="5" creationId="{B5EEB56D-B388-3B36-90D7-E1D1797C4F6C}"/>
          </ac:picMkLst>
        </pc:picChg>
      </pc:sldChg>
      <pc:sldChg chg="add del">
        <pc:chgData name="Bhushan Madapura [UNext]" userId="2baadad7-7b8e-4632-a62a-dff9a334b569" providerId="ADAL" clId="{F6E155E8-D84C-463E-A3B7-5CF65E1FB393}" dt="2024-08-26T15:11:05.550" v="1029"/>
        <pc:sldMkLst>
          <pc:docMk/>
          <pc:sldMk cId="433381282" sldId="2147375612"/>
        </pc:sldMkLst>
      </pc:sldChg>
      <pc:sldChg chg="addSp delSp modSp add mod">
        <pc:chgData name="Bhushan Madapura [UNext]" userId="2baadad7-7b8e-4632-a62a-dff9a334b569" providerId="ADAL" clId="{F6E155E8-D84C-463E-A3B7-5CF65E1FB393}" dt="2024-08-26T15:14:52.931" v="1405" actId="207"/>
        <pc:sldMkLst>
          <pc:docMk/>
          <pc:sldMk cId="660662221" sldId="2147375612"/>
        </pc:sldMkLst>
        <pc:spChg chg="mod">
          <ac:chgData name="Bhushan Madapura [UNext]" userId="2baadad7-7b8e-4632-a62a-dff9a334b569" providerId="ADAL" clId="{F6E155E8-D84C-463E-A3B7-5CF65E1FB393}" dt="2024-08-26T15:14:41.582" v="1402" actId="20577"/>
          <ac:spMkLst>
            <pc:docMk/>
            <pc:sldMk cId="660662221" sldId="2147375612"/>
            <ac:spMk id="3" creationId="{C02D07F7-B946-BB66-E6EA-DD92C38B1926}"/>
          </ac:spMkLst>
        </pc:spChg>
        <pc:picChg chg="add mod">
          <ac:chgData name="Bhushan Madapura [UNext]" userId="2baadad7-7b8e-4632-a62a-dff9a334b569" providerId="ADAL" clId="{F6E155E8-D84C-463E-A3B7-5CF65E1FB393}" dt="2024-08-26T15:14:52.931" v="1405" actId="207"/>
          <ac:picMkLst>
            <pc:docMk/>
            <pc:sldMk cId="660662221" sldId="2147375612"/>
            <ac:picMk id="2" creationId="{05221367-599F-F73C-4BD3-0C82C72014FC}"/>
          </ac:picMkLst>
        </pc:picChg>
        <pc:picChg chg="del">
          <ac:chgData name="Bhushan Madapura [UNext]" userId="2baadad7-7b8e-4632-a62a-dff9a334b569" providerId="ADAL" clId="{F6E155E8-D84C-463E-A3B7-5CF65E1FB393}" dt="2024-08-26T15:14:44.384" v="1403" actId="478"/>
          <ac:picMkLst>
            <pc:docMk/>
            <pc:sldMk cId="660662221" sldId="2147375612"/>
            <ac:picMk id="4" creationId="{B5F8A401-110E-E4BD-2FD5-DBD699116CE7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6:32.781" v="1533" actId="122"/>
        <pc:sldMkLst>
          <pc:docMk/>
          <pc:sldMk cId="1148838763" sldId="2147375613"/>
        </pc:sldMkLst>
        <pc:spChg chg="mod">
          <ac:chgData name="Bhushan Madapura [UNext]" userId="2baadad7-7b8e-4632-a62a-dff9a334b569" providerId="ADAL" clId="{F6E155E8-D84C-463E-A3B7-5CF65E1FB393}" dt="2024-08-26T15:15:48.857" v="1485" actId="948"/>
          <ac:spMkLst>
            <pc:docMk/>
            <pc:sldMk cId="1148838763" sldId="2147375613"/>
            <ac:spMk id="3" creationId="{CEA128C4-A0BC-A895-713C-306E7FF6289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7.610" v="1454"/>
          <ac:spMkLst>
            <pc:docMk/>
            <pc:sldMk cId="1148838763" sldId="2147375613"/>
            <ac:spMk id="6" creationId="{7A533F93-1145-78FC-44EC-2D1FF0070EC8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320" v="1481"/>
          <ac:spMkLst>
            <pc:docMk/>
            <pc:sldMk cId="1148838763" sldId="2147375613"/>
            <ac:spMk id="8" creationId="{D10124C6-6D24-43E2-53F9-F1CAF3218B04}"/>
          </ac:spMkLst>
        </pc:spChg>
        <pc:spChg chg="add del mod modVis">
          <ac:chgData name="Bhushan Madapura [UNext]" userId="2baadad7-7b8e-4632-a62a-dff9a334b569" providerId="ADAL" clId="{F6E155E8-D84C-463E-A3B7-5CF65E1FB393}" dt="2024-08-26T15:15:48.904" v="1507"/>
          <ac:spMkLst>
            <pc:docMk/>
            <pc:sldMk cId="1148838763" sldId="2147375613"/>
            <ac:spMk id="9" creationId="{9119CDCB-874F-9FE0-026A-9813546EEE2D}"/>
          </ac:spMkLst>
        </pc:spChg>
        <pc:spChg chg="add mod">
          <ac:chgData name="Bhushan Madapura [UNext]" userId="2baadad7-7b8e-4632-a62a-dff9a334b569" providerId="ADAL" clId="{F6E155E8-D84C-463E-A3B7-5CF65E1FB393}" dt="2024-08-26T15:16:21.486" v="1532" actId="207"/>
          <ac:spMkLst>
            <pc:docMk/>
            <pc:sldMk cId="1148838763" sldId="2147375613"/>
            <ac:spMk id="11" creationId="{8CC1343B-2E39-FEFF-8FF6-46822F18B432}"/>
          </ac:spMkLst>
        </pc:spChg>
        <pc:spChg chg="add mod">
          <ac:chgData name="Bhushan Madapura [UNext]" userId="2baadad7-7b8e-4632-a62a-dff9a334b569" providerId="ADAL" clId="{F6E155E8-D84C-463E-A3B7-5CF65E1FB393}" dt="2024-08-26T15:16:32.781" v="1533" actId="122"/>
          <ac:spMkLst>
            <pc:docMk/>
            <pc:sldMk cId="1148838763" sldId="2147375613"/>
            <ac:spMk id="12" creationId="{5A873A1A-E63F-91AE-7D43-ED0F86870147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8" creationId="{6C73795A-BE20-7075-E9C6-6F145CE60794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19" creationId="{A3E2F4D1-4417-E244-3DB9-A6FF5866A342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0" creationId="{3EBEB0AC-D407-44FD-A74F-90F67F3D13C3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1" creationId="{DF8FD767-7EE2-8BA3-9320-45A7293391FF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2" creationId="{9289516E-B769-4A13-DD90-39AC62DED9BD}"/>
          </ac:spMkLst>
        </pc:spChg>
        <pc:spChg chg="del">
          <ac:chgData name="Bhushan Madapura [UNext]" userId="2baadad7-7b8e-4632-a62a-dff9a334b569" providerId="ADAL" clId="{F6E155E8-D84C-463E-A3B7-5CF65E1FB393}" dt="2024-08-26T15:15:37.243" v="1413" actId="478"/>
          <ac:spMkLst>
            <pc:docMk/>
            <pc:sldMk cId="1148838763" sldId="2147375613"/>
            <ac:spMk id="23" creationId="{4461DDA7-0DFB-87EE-DF38-AA6219713C1B}"/>
          </ac:spMkLst>
        </pc:s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4" creationId="{DCA04876-65F9-DDA2-9E8E-9D570857B2A5}"/>
          </ac:grpSpMkLst>
        </pc:grpChg>
        <pc:grpChg chg="del mod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27" creationId="{B808CBE1-9B84-7818-F1B7-F6B6847390C9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36" creationId="{687B6C54-1790-E64F-C35E-76DA0084E125}"/>
          </ac:grpSpMkLst>
        </pc:grpChg>
        <pc:grpChg chg="del">
          <ac:chgData name="Bhushan Madapura [UNext]" userId="2baadad7-7b8e-4632-a62a-dff9a334b569" providerId="ADAL" clId="{F6E155E8-D84C-463E-A3B7-5CF65E1FB393}" dt="2024-08-26T15:15:53.458" v="1510" actId="478"/>
          <ac:grpSpMkLst>
            <pc:docMk/>
            <pc:sldMk cId="1148838763" sldId="2147375613"/>
            <ac:grpSpMk id="43" creationId="{3B45C904-9ACC-B1CD-AC94-A5F94AF041AF}"/>
          </ac:grpSpMkLst>
        </pc:grpChg>
        <pc:graphicFrameChg chg="mod">
          <ac:chgData name="Bhushan Madapura [UNext]" userId="2baadad7-7b8e-4632-a62a-dff9a334b569" providerId="ADAL" clId="{F6E155E8-D84C-463E-A3B7-5CF65E1FB393}" dt="2024-08-26T15:15:48.904" v="1509"/>
          <ac:graphicFrameMkLst>
            <pc:docMk/>
            <pc:sldMk cId="1148838763" sldId="2147375613"/>
            <ac:graphicFrameMk id="7" creationId="{3583FF9E-539E-FE29-E73B-3EF7E093601C}"/>
          </ac:graphicFrameMkLst>
        </pc:graphicFrameChg>
        <pc:picChg chg="add mod">
          <ac:chgData name="Bhushan Madapura [UNext]" userId="2baadad7-7b8e-4632-a62a-dff9a334b569" providerId="ADAL" clId="{F6E155E8-D84C-463E-A3B7-5CF65E1FB393}" dt="2024-08-26T15:15:31.036" v="1412" actId="207"/>
          <ac:picMkLst>
            <pc:docMk/>
            <pc:sldMk cId="1148838763" sldId="2147375613"/>
            <ac:picMk id="2" creationId="{09B39B69-AA92-EAA5-718F-24380CF24656}"/>
          </ac:picMkLst>
        </pc:picChg>
        <pc:picChg chg="del">
          <ac:chgData name="Bhushan Madapura [UNext]" userId="2baadad7-7b8e-4632-a62a-dff9a334b569" providerId="ADAL" clId="{F6E155E8-D84C-463E-A3B7-5CF65E1FB393}" dt="2024-08-26T15:15:09.941" v="1407" actId="478"/>
          <ac:picMkLst>
            <pc:docMk/>
            <pc:sldMk cId="1148838763" sldId="2147375613"/>
            <ac:picMk id="5" creationId="{B5EEB56D-B388-3B36-90D7-E1D1797C4F6C}"/>
          </ac:picMkLst>
        </pc:picChg>
      </pc:sldChg>
      <pc:sldChg chg="addSp delSp modSp add mod">
        <pc:chgData name="Bhushan Madapura [UNext]" userId="2baadad7-7b8e-4632-a62a-dff9a334b569" providerId="ADAL" clId="{F6E155E8-D84C-463E-A3B7-5CF65E1FB393}" dt="2024-08-26T15:18:14.699" v="1565" actId="20577"/>
        <pc:sldMkLst>
          <pc:docMk/>
          <pc:sldMk cId="3865850111" sldId="2147375614"/>
        </pc:sldMkLst>
        <pc:spChg chg="mod">
          <ac:chgData name="Bhushan Madapura [UNext]" userId="2baadad7-7b8e-4632-a62a-dff9a334b569" providerId="ADAL" clId="{F6E155E8-D84C-463E-A3B7-5CF65E1FB393}" dt="2024-08-26T15:16:59.035" v="1542" actId="948"/>
          <ac:spMkLst>
            <pc:docMk/>
            <pc:sldMk cId="3865850111" sldId="2147375614"/>
            <ac:spMk id="3" creationId="{CEA128C4-A0BC-A895-713C-306E7FF62894}"/>
          </ac:spMkLst>
        </pc:spChg>
        <pc:spChg chg="add mod">
          <ac:chgData name="Bhushan Madapura [UNext]" userId="2baadad7-7b8e-4632-a62a-dff9a334b569" providerId="ADAL" clId="{F6E155E8-D84C-463E-A3B7-5CF65E1FB393}" dt="2024-08-26T15:18:14.699" v="1565" actId="20577"/>
          <ac:spMkLst>
            <pc:docMk/>
            <pc:sldMk cId="3865850111" sldId="2147375614"/>
            <ac:spMk id="6" creationId="{AC2F88D2-81D4-FAD4-568E-A3F495B06411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1" creationId="{8CC1343B-2E39-FEFF-8FF6-46822F18B432}"/>
          </ac:spMkLst>
        </pc:spChg>
        <pc:spChg chg="del">
          <ac:chgData name="Bhushan Madapura [UNext]" userId="2baadad7-7b8e-4632-a62a-dff9a334b569" providerId="ADAL" clId="{F6E155E8-D84C-463E-A3B7-5CF65E1FB393}" dt="2024-08-26T15:17:18.476" v="1549" actId="478"/>
          <ac:spMkLst>
            <pc:docMk/>
            <pc:sldMk cId="3865850111" sldId="2147375614"/>
            <ac:spMk id="12" creationId="{5A873A1A-E63F-91AE-7D43-ED0F86870147}"/>
          </ac:spMkLst>
        </pc:spChg>
        <pc:graphicFrameChg chg="mod">
          <ac:chgData name="Bhushan Madapura [UNext]" userId="2baadad7-7b8e-4632-a62a-dff9a334b569" providerId="ADAL" clId="{F6E155E8-D84C-463E-A3B7-5CF65E1FB393}" dt="2024-08-26T15:16:59.048" v="1544"/>
          <ac:graphicFrameMkLst>
            <pc:docMk/>
            <pc:sldMk cId="3865850111" sldId="2147375614"/>
            <ac:graphicFrameMk id="7" creationId="{3583FF9E-539E-FE29-E73B-3EF7E093601C}"/>
          </ac:graphicFrameMkLst>
        </pc:graphicFrameChg>
        <pc:picChg chg="del">
          <ac:chgData name="Bhushan Madapura [UNext]" userId="2baadad7-7b8e-4632-a62a-dff9a334b569" providerId="ADAL" clId="{F6E155E8-D84C-463E-A3B7-5CF65E1FB393}" dt="2024-08-26T15:17:07.109" v="1545" actId="478"/>
          <ac:picMkLst>
            <pc:docMk/>
            <pc:sldMk cId="3865850111" sldId="2147375614"/>
            <ac:picMk id="2" creationId="{09B39B69-AA92-EAA5-718F-24380CF24656}"/>
          </ac:picMkLst>
        </pc:picChg>
        <pc:picChg chg="add mod">
          <ac:chgData name="Bhushan Madapura [UNext]" userId="2baadad7-7b8e-4632-a62a-dff9a334b569" providerId="ADAL" clId="{F6E155E8-D84C-463E-A3B7-5CF65E1FB393}" dt="2024-08-26T15:17:14.481" v="1548" actId="207"/>
          <ac:picMkLst>
            <pc:docMk/>
            <pc:sldMk cId="3865850111" sldId="2147375614"/>
            <ac:picMk id="5" creationId="{4C05FBB4-1D96-ED51-AB17-618E4D4052D9}"/>
          </ac:picMkLst>
        </pc:picChg>
      </pc:sldChg>
      <pc:sldMasterChg chg="delSldLayout">
        <pc:chgData name="Bhushan Madapura [UNext]" userId="2baadad7-7b8e-4632-a62a-dff9a334b569" providerId="ADAL" clId="{F6E155E8-D84C-463E-A3B7-5CF65E1FB393}" dt="2024-08-26T15:18:21.903" v="1573" actId="47"/>
        <pc:sldMasterMkLst>
          <pc:docMk/>
          <pc:sldMasterMk cId="2597032904" sldId="2147483648"/>
        </pc:sldMasterMkLst>
        <pc:sldLayoutChg chg="del">
          <pc:chgData name="Bhushan Madapura [UNext]" userId="2baadad7-7b8e-4632-a62a-dff9a334b569" providerId="ADAL" clId="{F6E155E8-D84C-463E-A3B7-5CF65E1FB393}" dt="2024-08-26T15:18:21.903" v="1573" actId="47"/>
          <pc:sldLayoutMkLst>
            <pc:docMk/>
            <pc:sldMasterMk cId="2597032904" sldId="2147483648"/>
            <pc:sldLayoutMk cId="351042113" sldId="2147483667"/>
          </pc:sldLayoutMkLst>
        </pc:sldLayoutChg>
      </pc:sldMasterChg>
    </pc:docChg>
  </pc:docChgLst>
  <pc:docChgLst>
    <pc:chgData name="Hitesh, Hitesh SBOBNG-PTIY/AEC" userId="4b40d14c-6959-4a04-b09b-037994df9ab1" providerId="ADAL" clId="{4C84933A-EB5E-44CB-9F26-C3A3949D0B72}"/>
    <pc:docChg chg="undo redo custSel modSld">
      <pc:chgData name="Hitesh, Hitesh SBOBNG-PTIY/AEC" userId="4b40d14c-6959-4a04-b09b-037994df9ab1" providerId="ADAL" clId="{4C84933A-EB5E-44CB-9F26-C3A3949D0B72}" dt="2024-08-30T14:22:48.055" v="150" actId="1076"/>
      <pc:docMkLst>
        <pc:docMk/>
      </pc:docMkLst>
      <pc:sldChg chg="modSp mod">
        <pc:chgData name="Hitesh, Hitesh SBOBNG-PTIY/AEC" userId="4b40d14c-6959-4a04-b09b-037994df9ab1" providerId="ADAL" clId="{4C84933A-EB5E-44CB-9F26-C3A3949D0B72}" dt="2024-08-30T14:12:40.286" v="7" actId="20577"/>
        <pc:sldMkLst>
          <pc:docMk/>
          <pc:sldMk cId="3267775274" sldId="256"/>
        </pc:sldMkLst>
        <pc:spChg chg="mod">
          <ac:chgData name="Hitesh, Hitesh SBOBNG-PTIY/AEC" userId="4b40d14c-6959-4a04-b09b-037994df9ab1" providerId="ADAL" clId="{4C84933A-EB5E-44CB-9F26-C3A3949D0B72}" dt="2024-08-30T14:12:40.286" v="7" actId="20577"/>
          <ac:spMkLst>
            <pc:docMk/>
            <pc:sldMk cId="3267775274" sldId="256"/>
            <ac:spMk id="6" creationId="{0C37A4A8-A3C7-407F-B123-88E2E165C827}"/>
          </ac:spMkLst>
        </pc:spChg>
      </pc:sldChg>
      <pc:sldChg chg="addSp modSp mod">
        <pc:chgData name="Hitesh, Hitesh SBOBNG-PTIY/AEC" userId="4b40d14c-6959-4a04-b09b-037994df9ab1" providerId="ADAL" clId="{4C84933A-EB5E-44CB-9F26-C3A3949D0B72}" dt="2024-08-30T14:22:48.055" v="150" actId="1076"/>
        <pc:sldMkLst>
          <pc:docMk/>
          <pc:sldMk cId="867832184" sldId="2147375589"/>
        </pc:sldMkLst>
        <pc:spChg chg="mod">
          <ac:chgData name="Hitesh, Hitesh SBOBNG-PTIY/AEC" userId="4b40d14c-6959-4a04-b09b-037994df9ab1" providerId="ADAL" clId="{4C84933A-EB5E-44CB-9F26-C3A3949D0B72}" dt="2024-08-30T14:19:44.466" v="142" actId="20577"/>
          <ac:spMkLst>
            <pc:docMk/>
            <pc:sldMk cId="867832184" sldId="2147375589"/>
            <ac:spMk id="10" creationId="{1119CB9E-042F-11E8-F683-654626D307B3}"/>
          </ac:spMkLst>
        </pc:spChg>
        <pc:spChg chg="mod">
          <ac:chgData name="Hitesh, Hitesh SBOBNG-PTIY/AEC" userId="4b40d14c-6959-4a04-b09b-037994df9ab1" providerId="ADAL" clId="{4C84933A-EB5E-44CB-9F26-C3A3949D0B72}" dt="2024-08-30T14:22:36.629" v="146" actId="1076"/>
          <ac:spMkLst>
            <pc:docMk/>
            <pc:sldMk cId="867832184" sldId="2147375589"/>
            <ac:spMk id="11" creationId="{CE0DDF5F-FE47-F9A2-FE84-53B63DFF494D}"/>
          </ac:spMkLst>
        </pc:spChg>
        <pc:picChg chg="add mod">
          <ac:chgData name="Hitesh, Hitesh SBOBNG-PTIY/AEC" userId="4b40d14c-6959-4a04-b09b-037994df9ab1" providerId="ADAL" clId="{4C84933A-EB5E-44CB-9F26-C3A3949D0B72}" dt="2024-08-30T14:22:48.055" v="150" actId="1076"/>
          <ac:picMkLst>
            <pc:docMk/>
            <pc:sldMk cId="867832184" sldId="2147375589"/>
            <ac:picMk id="1026" creationId="{7B66839B-5C78-02A0-9223-3547110A793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1/09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2449338"/>
            <a:ext cx="10525125" cy="1754326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 – TECHNICAL FOUNDATION</a:t>
            </a:r>
            <a:br>
              <a:rPr lang="en-US" sz="4000" dirty="0"/>
            </a:br>
            <a:r>
              <a:rPr lang="en-US" sz="4000" dirty="0"/>
              <a:t>Reflections for Day 2 (30-Aug-2024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Hites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30-Aug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3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2AEE4DC-6FE4-5FAA-3BF0-9E51B9541760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pic - Story - Task - Sub Task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marL="742950" lvl="1" indent="-285750"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pic: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 Think of an Epic as a large story that needs to be broken down into multiple smaller stories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tory: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 A requirement detailed enough to be estimated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ask: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 Developers and testers break down the story into tasks to estimate, develop, and test it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ub Task: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 These are smaller chunks of a parent task, assigned and tracked individually.</a:t>
            </a:r>
          </a:p>
          <a:p>
            <a:pPr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nabler and Spike Story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marL="742950" lvl="1" indent="-285750"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Enabler: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 Supports activities needed to extend the architectural runway for future business functionality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pike:</a:t>
            </a:r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 A time-boxed user story or task created to research a question or resolve a problem.</a:t>
            </a:r>
          </a:p>
          <a:p>
            <a:pPr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ctivity Done for Enabler Story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tory Pointing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tory points measure the effort required to complete a piece of work.</a:t>
            </a: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he team assigns story points based on complexity, amount, and uncertainty.</a:t>
            </a:r>
          </a:p>
          <a:p>
            <a:pPr algn="l">
              <a:buFont typeface="+mj-lt"/>
              <a:buAutoNum type="arabicPeriod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ition of Ready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Defines the criteria a user story must meet before it can be picked up for a sprint.</a:t>
            </a:r>
            <a:br>
              <a:rPr lang="en-GB" sz="1400" dirty="0"/>
            </a:br>
            <a:endParaRPr lang="en-GB" sz="1100" b="1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3" y="1860993"/>
            <a:ext cx="11309311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+mj-lt"/>
              <a:buAutoNum type="arabicPeriod" startAt="6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crum Board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lso known as a sprint board, it’s a visual representation of work to be done in a single sprint.</a:t>
            </a:r>
          </a:p>
          <a:p>
            <a:pPr algn="l">
              <a:buFont typeface="+mj-lt"/>
              <a:buAutoNum type="arabicPeriod" startAt="6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gile Workflow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+mj-lt"/>
              <a:buAutoNum type="arabicPeriod" startAt="6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Agile Product Roadmap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+mj-lt"/>
              <a:buAutoNum type="arabicPeriod" startAt="6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Time Estimation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+mj-lt"/>
              <a:buAutoNum type="arabicPeriod" startAt="6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Logging Work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+mj-lt"/>
              <a:buAutoNum type="arabicPeriod" startAt="6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hy Kanban Board?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+mj-lt"/>
              <a:buAutoNum type="arabicPeriod" startAt="6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Why Use Fibonacci Numbers?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lvl="1"/>
            <a:r>
              <a:rPr lang="en-GB" sz="14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Fibonacci numbers get farther apart as they increase, making estimation easier.</a:t>
            </a:r>
          </a:p>
          <a:p>
            <a:pPr algn="l">
              <a:buFont typeface="+mj-lt"/>
              <a:buAutoNum type="arabicPeriod" startAt="6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Burn Up Charts vs. Burndown Charts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  <a:p>
            <a:pPr algn="l">
              <a:buFont typeface="+mj-lt"/>
              <a:buAutoNum type="arabicPeriod" startAt="6"/>
            </a:pPr>
            <a:r>
              <a:rPr lang="en-GB" sz="14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Velocity Charts</a:t>
            </a:r>
            <a:endParaRPr lang="en-GB" sz="1400" b="0" i="0" dirty="0">
              <a:solidFill>
                <a:srgbClr val="111111"/>
              </a:solidFill>
              <a:effectLst/>
              <a:highlight>
                <a:srgbClr val="F7F7F7"/>
              </a:highlight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168</TotalTime>
  <Words>270</Words>
  <Application>Microsoft Office PowerPoint</Application>
  <PresentationFormat>Widescreen</PresentationFormat>
  <Paragraphs>3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-apple-system</vt:lpstr>
      <vt:lpstr>Arial</vt:lpstr>
      <vt:lpstr>Calibri</vt:lpstr>
      <vt:lpstr>Office Theme</vt:lpstr>
      <vt:lpstr>think-cell Slide</vt:lpstr>
      <vt:lpstr>PowerPoint Presentation</vt:lpstr>
      <vt:lpstr>PowerPoint Presentation</vt:lpstr>
      <vt:lpstr>Learning 1 | My takeaways</vt:lpstr>
      <vt:lpstr>Learning 2 | My takeaway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Hitesh K</cp:lastModifiedBy>
  <cp:revision>520</cp:revision>
  <dcterms:created xsi:type="dcterms:W3CDTF">2022-01-18T12:35:56Z</dcterms:created>
  <dcterms:modified xsi:type="dcterms:W3CDTF">2024-09-01T17:3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